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83" r:id="rId2"/>
    <p:sldId id="447" r:id="rId3"/>
    <p:sldId id="449" r:id="rId4"/>
    <p:sldId id="450" r:id="rId5"/>
    <p:sldId id="451" r:id="rId6"/>
    <p:sldId id="452" r:id="rId7"/>
    <p:sldId id="453" r:id="rId8"/>
    <p:sldId id="455" r:id="rId9"/>
    <p:sldId id="456" r:id="rId10"/>
    <p:sldId id="457" r:id="rId11"/>
    <p:sldId id="458" r:id="rId12"/>
    <p:sldId id="459" r:id="rId13"/>
    <p:sldId id="460" r:id="rId14"/>
    <p:sldId id="461" r:id="rId15"/>
    <p:sldId id="462" r:id="rId16"/>
    <p:sldId id="463" r:id="rId17"/>
    <p:sldId id="464" r:id="rId18"/>
    <p:sldId id="466" r:id="rId19"/>
    <p:sldId id="465" r:id="rId20"/>
    <p:sldId id="468" r:id="rId21"/>
    <p:sldId id="467" r:id="rId22"/>
    <p:sldId id="469" r:id="rId23"/>
    <p:sldId id="405" r:id="rId24"/>
  </p:sldIdLst>
  <p:sldSz cx="9906000" cy="6858000" type="A4"/>
  <p:notesSz cx="7099300" cy="10234613"/>
  <p:custDataLst>
    <p:tags r:id="rId27"/>
  </p:custDataLst>
  <p:defaultTextStyle>
    <a:defPPr>
      <a:defRPr lang="ko-KR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rgbClr val="595959"/>
        </a:solidFill>
        <a:latin typeface="아리따-돋움(TTF)-Light" panose="02020603020101020101" pitchFamily="18" charset="-127"/>
        <a:ea typeface="아리따-돋움(TTF)-Light" panose="02020603020101020101" pitchFamily="18" charset="-127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rgbClr val="595959"/>
        </a:solidFill>
        <a:latin typeface="아리따-돋움(TTF)-Light" panose="02020603020101020101" pitchFamily="18" charset="-127"/>
        <a:ea typeface="아리따-돋움(TTF)-Light" panose="02020603020101020101" pitchFamily="18" charset="-127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rgbClr val="595959"/>
        </a:solidFill>
        <a:latin typeface="아리따-돋움(TTF)-Light" panose="02020603020101020101" pitchFamily="18" charset="-127"/>
        <a:ea typeface="아리따-돋움(TTF)-Light" panose="02020603020101020101" pitchFamily="18" charset="-127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rgbClr val="595959"/>
        </a:solidFill>
        <a:latin typeface="아리따-돋움(TTF)-Light" panose="02020603020101020101" pitchFamily="18" charset="-127"/>
        <a:ea typeface="아리따-돋움(TTF)-Light" panose="02020603020101020101" pitchFamily="18" charset="-127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rgbClr val="595959"/>
        </a:solidFill>
        <a:latin typeface="아리따-돋움(TTF)-Light" panose="02020603020101020101" pitchFamily="18" charset="-127"/>
        <a:ea typeface="아리따-돋움(TTF)-Light" panose="02020603020101020101" pitchFamily="18" charset="-127"/>
        <a:cs typeface="+mn-cs"/>
      </a:defRPr>
    </a:lvl5pPr>
    <a:lvl6pPr marL="2286000" algn="l" defTabSz="914400" rtl="0" eaLnBrk="1" latinLnBrk="1" hangingPunct="1">
      <a:defRPr sz="1600" kern="1200">
        <a:solidFill>
          <a:srgbClr val="595959"/>
        </a:solidFill>
        <a:latin typeface="아리따-돋움(TTF)-Light" panose="02020603020101020101" pitchFamily="18" charset="-127"/>
        <a:ea typeface="아리따-돋움(TTF)-Light" panose="02020603020101020101" pitchFamily="18" charset="-127"/>
        <a:cs typeface="+mn-cs"/>
      </a:defRPr>
    </a:lvl6pPr>
    <a:lvl7pPr marL="2743200" algn="l" defTabSz="914400" rtl="0" eaLnBrk="1" latinLnBrk="1" hangingPunct="1">
      <a:defRPr sz="1600" kern="1200">
        <a:solidFill>
          <a:srgbClr val="595959"/>
        </a:solidFill>
        <a:latin typeface="아리따-돋움(TTF)-Light" panose="02020603020101020101" pitchFamily="18" charset="-127"/>
        <a:ea typeface="아리따-돋움(TTF)-Light" panose="02020603020101020101" pitchFamily="18" charset="-127"/>
        <a:cs typeface="+mn-cs"/>
      </a:defRPr>
    </a:lvl7pPr>
    <a:lvl8pPr marL="3200400" algn="l" defTabSz="914400" rtl="0" eaLnBrk="1" latinLnBrk="1" hangingPunct="1">
      <a:defRPr sz="1600" kern="1200">
        <a:solidFill>
          <a:srgbClr val="595959"/>
        </a:solidFill>
        <a:latin typeface="아리따-돋움(TTF)-Light" panose="02020603020101020101" pitchFamily="18" charset="-127"/>
        <a:ea typeface="아리따-돋움(TTF)-Light" panose="02020603020101020101" pitchFamily="18" charset="-127"/>
        <a:cs typeface="+mn-cs"/>
      </a:defRPr>
    </a:lvl8pPr>
    <a:lvl9pPr marL="3657600" algn="l" defTabSz="914400" rtl="0" eaLnBrk="1" latinLnBrk="1" hangingPunct="1">
      <a:defRPr sz="1600" kern="1200">
        <a:solidFill>
          <a:srgbClr val="595959"/>
        </a:solidFill>
        <a:latin typeface="아리따-돋움(TTF)-Light" panose="02020603020101020101" pitchFamily="18" charset="-127"/>
        <a:ea typeface="아리따-돋움(TTF)-Light" panose="02020603020101020101" pitchFamily="18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3" pos="6068" userDrawn="1">
          <p15:clr>
            <a:srgbClr val="A4A3A4"/>
          </p15:clr>
        </p15:guide>
        <p15:guide id="5" pos="2530" userDrawn="1">
          <p15:clr>
            <a:srgbClr val="A4A3A4"/>
          </p15:clr>
        </p15:guide>
        <p15:guide id="8" pos="4889" userDrawn="1">
          <p15:clr>
            <a:srgbClr val="A4A3A4"/>
          </p15:clr>
        </p15:guide>
        <p15:guide id="10" orient="horz" pos="1207" userDrawn="1">
          <p15:clr>
            <a:srgbClr val="A4A3A4"/>
          </p15:clr>
        </p15:guide>
        <p15:guide id="12" orient="horz" pos="3929" userDrawn="1">
          <p15:clr>
            <a:srgbClr val="A4A3A4"/>
          </p15:clr>
        </p15:guide>
        <p15:guide id="13" pos="172" userDrawn="1">
          <p15:clr>
            <a:srgbClr val="A4A3A4"/>
          </p15:clr>
        </p15:guide>
        <p15:guide id="14" pos="398" userDrawn="1">
          <p15:clr>
            <a:srgbClr val="A4A3A4"/>
          </p15:clr>
        </p15:guide>
        <p15:guide id="15" pos="3120" userDrawn="1">
          <p15:clr>
            <a:srgbClr val="A4A3A4"/>
          </p15:clr>
        </p15:guide>
        <p15:guide id="16" pos="47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5D05"/>
    <a:srgbClr val="00CC99"/>
    <a:srgbClr val="FEEFB8"/>
    <a:srgbClr val="FEF4CE"/>
    <a:srgbClr val="FEF9F4"/>
    <a:srgbClr val="DDFBE6"/>
    <a:srgbClr val="FBC603"/>
    <a:srgbClr val="FFFF99"/>
    <a:srgbClr val="D5FFF4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025" autoAdjust="0"/>
    <p:restoredTop sz="96247" autoAdjust="0"/>
  </p:normalViewPr>
  <p:slideViewPr>
    <p:cSldViewPr showGuides="1">
      <p:cViewPr varScale="1">
        <p:scale>
          <a:sx n="63" d="100"/>
          <a:sy n="63" d="100"/>
        </p:scale>
        <p:origin x="462" y="66"/>
      </p:cViewPr>
      <p:guideLst>
        <p:guide orient="horz" pos="799"/>
        <p:guide pos="6068"/>
        <p:guide pos="2530"/>
        <p:guide pos="4889"/>
        <p:guide orient="horz" pos="1207"/>
        <p:guide orient="horz" pos="3929"/>
        <p:guide pos="172"/>
        <p:guide pos="398"/>
        <p:guide pos="3120"/>
        <p:guide pos="4753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>
        <p:scale>
          <a:sx n="100" d="100"/>
          <a:sy n="100" d="100"/>
        </p:scale>
        <p:origin x="3474" y="-726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l" eaLnBrk="1" fontAlgn="auto" latinLnBrk="1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r" eaLnBrk="1" fontAlgn="auto" latinLnBrk="1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48607AEF-0470-43F9-84CE-E730EEB1C058}" type="datetimeFigureOut">
              <a:rPr lang="ko-KR" altLang="en-US"/>
              <a:pPr>
                <a:defRPr/>
              </a:pPr>
              <a:t>2018-10-02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4640" tIns="47320" rIns="94640" bIns="47320" rtlCol="0" anchor="b"/>
          <a:lstStyle>
            <a:lvl1pPr algn="l" eaLnBrk="1" fontAlgn="auto" latinLnBrk="1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4640" tIns="47320" rIns="94640" bIns="47320" numCol="1" anchor="b" anchorCtr="0" compatLnSpc="1">
            <a:prstTxWarp prst="textNoShape">
              <a:avLst/>
            </a:prstTxWarp>
          </a:bodyPr>
          <a:lstStyle>
            <a:lvl1pPr algn="r" eaLnBrk="1" latinLnBrk="1" hangingPunct="1">
              <a:defRPr kumimoji="0" sz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>
              <a:defRPr/>
            </a:pPr>
            <a:fld id="{FA1DFDA0-F437-4923-A03C-E689BCF99DFB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0507922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l" eaLnBrk="1" fontAlgn="auto" latinLnBrk="1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r" eaLnBrk="1" fontAlgn="auto" latinLnBrk="1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963189A7-4F54-4807-89E1-79FA2EB74439}" type="datetimeFigureOut">
              <a:rPr lang="ko-KR" altLang="en-US"/>
              <a:pPr>
                <a:defRPr/>
              </a:pPr>
              <a:t>2018-10-02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768350"/>
            <a:ext cx="554355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40" tIns="47320" rIns="94640" bIns="47320" rtlCol="0" anchor="ctr"/>
          <a:lstStyle/>
          <a:p>
            <a:pPr lvl="0"/>
            <a:endParaRPr lang="ko-KR" altLang="en-US" noProof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4640" tIns="47320" rIns="94640" bIns="47320" rtlCol="0">
            <a:normAutofit/>
          </a:bodyPr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4640" tIns="47320" rIns="94640" bIns="47320" rtlCol="0" anchor="b"/>
          <a:lstStyle>
            <a:lvl1pPr algn="l" eaLnBrk="1" fontAlgn="auto" latinLnBrk="1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4640" tIns="47320" rIns="94640" bIns="47320" numCol="1" anchor="b" anchorCtr="0" compatLnSpc="1">
            <a:prstTxWarp prst="textNoShape">
              <a:avLst/>
            </a:prstTxWarp>
          </a:bodyPr>
          <a:lstStyle>
            <a:lvl1pPr algn="r" eaLnBrk="1" latinLnBrk="1" hangingPunct="1">
              <a:defRPr kumimoji="0" sz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>
              <a:defRPr/>
            </a:pPr>
            <a:fld id="{690AB7F3-2BBC-43D5-9C90-22A547AF7D2C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16762206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직선 연결선 25"/>
          <p:cNvCxnSpPr/>
          <p:nvPr userDrawn="1"/>
        </p:nvCxnSpPr>
        <p:spPr>
          <a:xfrm>
            <a:off x="704850" y="3362325"/>
            <a:ext cx="849662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직선 연결선 6"/>
          <p:cNvCxnSpPr/>
          <p:nvPr userDrawn="1"/>
        </p:nvCxnSpPr>
        <p:spPr bwMode="gray">
          <a:xfrm>
            <a:off x="704850" y="1120775"/>
            <a:ext cx="8496622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제목 16"/>
          <p:cNvSpPr>
            <a:spLocks noGrp="1"/>
          </p:cNvSpPr>
          <p:nvPr>
            <p:ph type="title"/>
          </p:nvPr>
        </p:nvSpPr>
        <p:spPr>
          <a:xfrm>
            <a:off x="713476" y="1124744"/>
            <a:ext cx="7488832" cy="1143000"/>
          </a:xfrm>
          <a:prstGeom prst="rect">
            <a:avLst/>
          </a:prstGeom>
        </p:spPr>
        <p:txBody>
          <a:bodyPr anchor="ctr"/>
          <a:lstStyle>
            <a:lvl1pPr algn="l">
              <a:defRPr kumimoji="1" lang="ko-KR" altLang="en-US" sz="3200" b="1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슬라이드 번호 개체 틀 28"/>
          <p:cNvSpPr>
            <a:spLocks/>
          </p:cNvSpPr>
          <p:nvPr userDrawn="1"/>
        </p:nvSpPr>
        <p:spPr bwMode="gray">
          <a:xfrm>
            <a:off x="9083675" y="213645"/>
            <a:ext cx="6223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>
              <a:defRPr/>
            </a:pPr>
            <a:fld id="{5BCA8C6E-0DB5-43C9-9098-C55FE917D45A}" type="slidenum">
              <a:rPr kumimoji="0" lang="ko-KR" altLang="en-US" sz="1200" smtClean="0">
                <a:solidFill>
                  <a:srgbClr val="89898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아리따-돋움(OTF)-Medium"/>
                <a:sym typeface="아리따-돋움(OTF)-Medium"/>
              </a:rPr>
              <a:pPr algn="r" eaLnBrk="1" hangingPunct="1">
                <a:defRPr/>
              </a:pPr>
              <a:t>‹#›</a:t>
            </a:fld>
            <a:endParaRPr kumimoji="0" lang="en-US" altLang="ko-KR" sz="1200" dirty="0">
              <a:solidFill>
                <a:srgbClr val="898989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아리따-돋움(OTF)-Medium"/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42342690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3" pos="5796" userDrawn="1">
          <p15:clr>
            <a:srgbClr val="FBAE40"/>
          </p15:clr>
        </p15:guide>
        <p15:guide id="4" pos="4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직선 연결선 9"/>
          <p:cNvCxnSpPr/>
          <p:nvPr userDrawn="1"/>
        </p:nvCxnSpPr>
        <p:spPr>
          <a:xfrm>
            <a:off x="200025" y="476250"/>
            <a:ext cx="95059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55984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200" b="1" kern="1200" spc="-1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아리따-돋움(OTF)-Medium"/>
              </a:defRPr>
            </a:lvl1pPr>
          </a:lstStyle>
          <a:p>
            <a:pPr lvl="0"/>
            <a:r>
              <a:rPr lang="ko-KR" altLang="en-US" dirty="0"/>
              <a:t>마스터 제목 스타일 편집</a:t>
            </a:r>
          </a:p>
        </p:txBody>
      </p:sp>
      <p:graphicFrame>
        <p:nvGraphicFramePr>
          <p:cNvPr id="11" name="표 10"/>
          <p:cNvGraphicFramePr>
            <a:graphicFrameLocks noGrp="1"/>
          </p:cNvGraphicFramePr>
          <p:nvPr userDrawn="1">
            <p:extLst/>
          </p:nvPr>
        </p:nvGraphicFramePr>
        <p:xfrm>
          <a:off x="200024" y="517525"/>
          <a:ext cx="9505944" cy="21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5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40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390096592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211458506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997078332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199383507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478610153"/>
                    </a:ext>
                  </a:extLst>
                </a:gridCol>
                <a:gridCol w="1224576">
                  <a:extLst>
                    <a:ext uri="{9D8B030D-6E8A-4147-A177-3AD203B41FA5}">
                      <a16:colId xmlns:a16="http://schemas.microsoft.com/office/drawing/2014/main" val="4149028393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위치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화면</a:t>
                      </a:r>
                      <a:r>
                        <a:rPr lang="en-US" altLang="ko-KR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ID</a:t>
                      </a:r>
                      <a:endParaRPr lang="ko-KR" altLang="en-US" sz="8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버전</a:t>
                      </a: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최종수정일</a:t>
                      </a: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3" name="직사각형 12"/>
          <p:cNvSpPr/>
          <p:nvPr userDrawn="1"/>
        </p:nvSpPr>
        <p:spPr>
          <a:xfrm>
            <a:off x="7869238" y="774378"/>
            <a:ext cx="1836737" cy="136525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r>
              <a:rPr lang="en-US" altLang="ko-KR" sz="800">
                <a:latin typeface="맑은 고딕" panose="020B0503020000020004" pitchFamily="50" charset="-127"/>
                <a:ea typeface="맑은 고딕" panose="020B0503020000020004" pitchFamily="50" charset="-127"/>
              </a:rPr>
              <a:t>Description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텍스트 개체 틀 14"/>
          <p:cNvSpPr>
            <a:spLocks noGrp="1"/>
          </p:cNvSpPr>
          <p:nvPr>
            <p:ph type="body" sz="quarter" idx="11"/>
          </p:nvPr>
        </p:nvSpPr>
        <p:spPr>
          <a:xfrm>
            <a:off x="6634940" y="537720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6" name="텍스트 개체 틀 14"/>
          <p:cNvSpPr>
            <a:spLocks noGrp="1"/>
          </p:cNvSpPr>
          <p:nvPr>
            <p:ph type="body" sz="quarter" idx="12"/>
          </p:nvPr>
        </p:nvSpPr>
        <p:spPr>
          <a:xfrm>
            <a:off x="4757709" y="537720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7" name="텍스트 개체 틀 14"/>
          <p:cNvSpPr>
            <a:spLocks noGrp="1"/>
          </p:cNvSpPr>
          <p:nvPr>
            <p:ph type="body" sz="quarter" idx="13"/>
          </p:nvPr>
        </p:nvSpPr>
        <p:spPr>
          <a:xfrm>
            <a:off x="8498677" y="537721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8" name="텍스트 개체 틀 14"/>
          <p:cNvSpPr>
            <a:spLocks noGrp="1"/>
          </p:cNvSpPr>
          <p:nvPr>
            <p:ph type="body" sz="quarter" idx="14"/>
          </p:nvPr>
        </p:nvSpPr>
        <p:spPr>
          <a:xfrm>
            <a:off x="872922" y="537720"/>
            <a:ext cx="3152457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lang="ko-KR" altLang="en-US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21" name="직사각형 20"/>
          <p:cNvSpPr/>
          <p:nvPr userDrawn="1"/>
        </p:nvSpPr>
        <p:spPr>
          <a:xfrm>
            <a:off x="200024" y="774378"/>
            <a:ext cx="7623176" cy="179986"/>
          </a:xfrm>
          <a:prstGeom prst="rect">
            <a:avLst/>
          </a:prstGeom>
          <a:solidFill>
            <a:srgbClr val="FFFF99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900" b="1">
                <a:solidFill>
                  <a:schemeClr val="tx1"/>
                </a:solidFill>
                <a:latin typeface="맑은 고딕" panose="020B0503020000020004" pitchFamily="50" charset="-127"/>
                <a:cs typeface="Segoe UI" panose="020B0502040204020203" pitchFamily="34" charset="0"/>
              </a:rPr>
              <a:t>이전페이지 이어서</a:t>
            </a:r>
          </a:p>
        </p:txBody>
      </p:sp>
      <p:sp>
        <p:nvSpPr>
          <p:cNvPr id="20" name="슬라이드 번호 개체 틀 28"/>
          <p:cNvSpPr>
            <a:spLocks/>
          </p:cNvSpPr>
          <p:nvPr userDrawn="1"/>
        </p:nvSpPr>
        <p:spPr bwMode="gray">
          <a:xfrm>
            <a:off x="9083675" y="213645"/>
            <a:ext cx="6223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>
              <a:defRPr/>
            </a:pPr>
            <a:fld id="{5BCA8C6E-0DB5-43C9-9098-C55FE917D45A}" type="slidenum">
              <a:rPr kumimoji="0" lang="ko-KR" altLang="en-US" sz="1200" smtClean="0">
                <a:solidFill>
                  <a:srgbClr val="89898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아리따-돋움(OTF)-Medium"/>
                <a:sym typeface="아리따-돋움(OTF)-Medium"/>
              </a:rPr>
              <a:pPr algn="r" eaLnBrk="1" hangingPunct="1">
                <a:defRPr/>
              </a:pPr>
              <a:t>‹#›</a:t>
            </a:fld>
            <a:endParaRPr kumimoji="0" lang="en-US" altLang="ko-KR" sz="1200" dirty="0">
              <a:solidFill>
                <a:srgbClr val="898989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아리따-돋움(OTF)-Medium"/>
              <a:sym typeface="아리따-돋움(OTF)-Medium"/>
            </a:endParaRPr>
          </a:p>
        </p:txBody>
      </p:sp>
      <p:sp>
        <p:nvSpPr>
          <p:cNvPr id="22" name="직사각형 21"/>
          <p:cNvSpPr/>
          <p:nvPr userDrawn="1"/>
        </p:nvSpPr>
        <p:spPr>
          <a:xfrm>
            <a:off x="200025" y="774378"/>
            <a:ext cx="7623175" cy="596699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36534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직선 연결선 25"/>
          <p:cNvCxnSpPr/>
          <p:nvPr userDrawn="1"/>
        </p:nvCxnSpPr>
        <p:spPr>
          <a:xfrm>
            <a:off x="704850" y="3362325"/>
            <a:ext cx="849662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슬라이드 번호 개체 틀 28"/>
          <p:cNvSpPr>
            <a:spLocks/>
          </p:cNvSpPr>
          <p:nvPr userDrawn="1"/>
        </p:nvSpPr>
        <p:spPr bwMode="gray">
          <a:xfrm>
            <a:off x="9083675" y="213645"/>
            <a:ext cx="6223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>
              <a:defRPr/>
            </a:pPr>
            <a:fld id="{5BCA8C6E-0DB5-43C9-9098-C55FE917D45A}" type="slidenum">
              <a:rPr kumimoji="0" lang="ko-KR" altLang="en-US" sz="1200" smtClean="0">
                <a:solidFill>
                  <a:srgbClr val="89898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아리따-돋움(OTF)-Medium"/>
                <a:sym typeface="아리따-돋움(OTF)-Medium"/>
              </a:rPr>
              <a:pPr algn="r" eaLnBrk="1" hangingPunct="1">
                <a:defRPr/>
              </a:pPr>
              <a:t>‹#›</a:t>
            </a:fld>
            <a:endParaRPr kumimoji="0" lang="en-US" altLang="ko-KR" sz="1200" dirty="0">
              <a:solidFill>
                <a:srgbClr val="898989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아리따-돋움(OTF)-Medium"/>
              <a:sym typeface="아리따-돋움(OTF)-Medium"/>
            </a:endParaRP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>
          <a:xfrm>
            <a:off x="713476" y="3429000"/>
            <a:ext cx="5275262" cy="584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1" lang="ko-KR" altLang="en-US" sz="3200" b="1" kern="0" spc="-15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>
              <a:defRPr kumimoji="1" lang="ko-KR" altLang="en-US" sz="3200" b="1" kern="0" spc="-15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2pPr>
            <a:lvl3pPr>
              <a:defRPr kumimoji="1" lang="ko-KR" altLang="en-US" sz="3200" b="1" kern="0" spc="-15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3pPr>
            <a:lvl4pPr>
              <a:defRPr kumimoji="1" lang="ko-KR" altLang="en-US" sz="3200" b="1" kern="0" spc="-15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4pPr>
            <a:lvl5pPr>
              <a:defRPr kumimoji="1" lang="ko-KR" altLang="en-US" sz="3200" b="1" kern="0" spc="-15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5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6981392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5796">
          <p15:clr>
            <a:srgbClr val="FBAE40"/>
          </p15:clr>
        </p15:guide>
        <p15:guide id="4" pos="44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종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직선 연결선 6"/>
          <p:cNvCxnSpPr/>
          <p:nvPr userDrawn="1"/>
        </p:nvCxnSpPr>
        <p:spPr bwMode="gray">
          <a:xfrm>
            <a:off x="704850" y="1120775"/>
            <a:ext cx="8496622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제목 16"/>
          <p:cNvSpPr>
            <a:spLocks noGrp="1"/>
          </p:cNvSpPr>
          <p:nvPr>
            <p:ph type="title"/>
          </p:nvPr>
        </p:nvSpPr>
        <p:spPr>
          <a:xfrm>
            <a:off x="713476" y="1124744"/>
            <a:ext cx="7488832" cy="1143000"/>
          </a:xfrm>
          <a:prstGeom prst="rect">
            <a:avLst/>
          </a:prstGeom>
        </p:spPr>
        <p:txBody>
          <a:bodyPr anchor="ctr"/>
          <a:lstStyle>
            <a:lvl1pPr algn="l">
              <a:defRPr kumimoji="1" lang="ko-KR" altLang="en-US" sz="3200" b="1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cxnSp>
        <p:nvCxnSpPr>
          <p:cNvPr id="11" name="직선 연결선 25"/>
          <p:cNvCxnSpPr/>
          <p:nvPr userDrawn="1"/>
        </p:nvCxnSpPr>
        <p:spPr>
          <a:xfrm>
            <a:off x="704850" y="3362325"/>
            <a:ext cx="849662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713476" y="3429000"/>
            <a:ext cx="1824538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kumimoji="1" lang="en-US" altLang="ko-KR" sz="3200" b="1" kern="0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HE END</a:t>
            </a:r>
            <a:endParaRPr kumimoji="1" lang="ko-KR" altLang="en-US" sz="3200" b="1" kern="0" spc="-150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4" name="슬라이드 번호 개체 틀 28"/>
          <p:cNvSpPr>
            <a:spLocks/>
          </p:cNvSpPr>
          <p:nvPr userDrawn="1"/>
        </p:nvSpPr>
        <p:spPr bwMode="gray">
          <a:xfrm>
            <a:off x="9083675" y="213645"/>
            <a:ext cx="6223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>
              <a:defRPr/>
            </a:pPr>
            <a:fld id="{5BCA8C6E-0DB5-43C9-9098-C55FE917D45A}" type="slidenum">
              <a:rPr kumimoji="0" lang="ko-KR" altLang="en-US" sz="1200" smtClean="0">
                <a:solidFill>
                  <a:srgbClr val="89898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아리따-돋움(OTF)-Medium"/>
                <a:sym typeface="아리따-돋움(OTF)-Medium"/>
              </a:rPr>
              <a:pPr algn="r" eaLnBrk="1" hangingPunct="1">
                <a:defRPr/>
              </a:pPr>
              <a:t>‹#›</a:t>
            </a:fld>
            <a:endParaRPr kumimoji="0" lang="en-US" altLang="ko-KR" sz="1200" dirty="0">
              <a:solidFill>
                <a:srgbClr val="898989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아리따-돋움(OTF)-Medium"/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5190181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5796">
          <p15:clr>
            <a:srgbClr val="FBAE40"/>
          </p15:clr>
        </p15:guide>
        <p15:guide id="4" pos="44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종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슬라이드 번호 개체 틀 28"/>
          <p:cNvSpPr>
            <a:spLocks/>
          </p:cNvSpPr>
          <p:nvPr userDrawn="1"/>
        </p:nvSpPr>
        <p:spPr bwMode="gray">
          <a:xfrm>
            <a:off x="9083675" y="213645"/>
            <a:ext cx="6223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>
              <a:defRPr/>
            </a:pPr>
            <a:fld id="{5BCA8C6E-0DB5-43C9-9098-C55FE917D45A}" type="slidenum">
              <a:rPr kumimoji="0" lang="ko-KR" altLang="en-US" sz="1200" smtClean="0">
                <a:solidFill>
                  <a:srgbClr val="89898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아리따-돋움(OTF)-Medium"/>
                <a:sym typeface="아리따-돋움(OTF)-Medium"/>
              </a:rPr>
              <a:pPr algn="r" eaLnBrk="1" hangingPunct="1">
                <a:defRPr/>
              </a:pPr>
              <a:t>‹#›</a:t>
            </a:fld>
            <a:endParaRPr kumimoji="0" lang="en-US" altLang="ko-KR" sz="1200" dirty="0">
              <a:solidFill>
                <a:srgbClr val="898989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아리따-돋움(OTF)-Medium"/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36867082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5796">
          <p15:clr>
            <a:srgbClr val="FBAE40"/>
          </p15:clr>
        </p15:guide>
        <p15:guide id="4" pos="44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직선 연결선 9"/>
          <p:cNvCxnSpPr/>
          <p:nvPr userDrawn="1"/>
        </p:nvCxnSpPr>
        <p:spPr>
          <a:xfrm>
            <a:off x="200025" y="476250"/>
            <a:ext cx="95059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직선 연결선 10"/>
          <p:cNvCxnSpPr/>
          <p:nvPr userDrawn="1"/>
        </p:nvCxnSpPr>
        <p:spPr>
          <a:xfrm>
            <a:off x="200025" y="6524625"/>
            <a:ext cx="95059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슬라이드 번호 개체 틀 28"/>
          <p:cNvSpPr>
            <a:spLocks/>
          </p:cNvSpPr>
          <p:nvPr/>
        </p:nvSpPr>
        <p:spPr bwMode="gray">
          <a:xfrm>
            <a:off x="9083675" y="213645"/>
            <a:ext cx="6223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>
              <a:defRPr/>
            </a:pPr>
            <a:fld id="{5BCA8C6E-0DB5-43C9-9098-C55FE917D45A}" type="slidenum">
              <a:rPr kumimoji="0" lang="ko-KR" altLang="en-US" sz="1200" smtClean="0">
                <a:solidFill>
                  <a:srgbClr val="89898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아리따-돋움(OTF)-Medium"/>
                <a:sym typeface="아리따-돋움(OTF)-Medium"/>
              </a:rPr>
              <a:pPr algn="r" eaLnBrk="1" hangingPunct="1">
                <a:defRPr/>
              </a:pPr>
              <a:t>‹#›</a:t>
            </a:fld>
            <a:endParaRPr kumimoji="0" lang="en-US" altLang="ko-KR" sz="1200" dirty="0">
              <a:solidFill>
                <a:srgbClr val="898989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아리따-돋움(OTF)-Medium"/>
              <a:sym typeface="아리따-돋움(OTF)-Medium"/>
            </a:endParaRP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55984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200" b="1" kern="1200" spc="-1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아리따-돋움(OTF)-Medium"/>
              </a:defRPr>
            </a:lvl1pPr>
          </a:lstStyle>
          <a:p>
            <a:pPr lvl="0"/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619867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텍스트 개체 틀 10"/>
          <p:cNvSpPr>
            <a:spLocks noGrp="1"/>
          </p:cNvSpPr>
          <p:nvPr>
            <p:ph type="body" sz="quarter" idx="10" hasCustomPrompt="1"/>
          </p:nvPr>
        </p:nvSpPr>
        <p:spPr>
          <a:xfrm>
            <a:off x="199578" y="3084906"/>
            <a:ext cx="6985223" cy="4198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ko-KR" altLang="en-US" sz="2200" b="1" kern="1200" spc="-15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아리따-돋움(OTF)-Medium"/>
              </a:defRPr>
            </a:lvl1pPr>
          </a:lstStyle>
          <a:p>
            <a:pPr lvl="0"/>
            <a:r>
              <a:rPr lang="ko-KR" altLang="en-US"/>
              <a:t>마스터 제목 </a:t>
            </a:r>
            <a:r>
              <a:rPr lang="ko-KR" altLang="en-US" dirty="0"/>
              <a:t>스타일 편집</a:t>
            </a:r>
          </a:p>
        </p:txBody>
      </p:sp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직선 연결선 9"/>
          <p:cNvCxnSpPr/>
          <p:nvPr userDrawn="1"/>
        </p:nvCxnSpPr>
        <p:spPr>
          <a:xfrm>
            <a:off x="200025" y="476250"/>
            <a:ext cx="95059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직선 연결선 10"/>
          <p:cNvCxnSpPr/>
          <p:nvPr userDrawn="1"/>
        </p:nvCxnSpPr>
        <p:spPr>
          <a:xfrm>
            <a:off x="200025" y="6524625"/>
            <a:ext cx="95059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55984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200" b="1" kern="1200" spc="-1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아리따-돋움(OTF)-Medium"/>
              </a:defRPr>
            </a:lvl1pPr>
          </a:lstStyle>
          <a:p>
            <a:pPr lvl="0"/>
            <a:r>
              <a:rPr lang="ko-KR" altLang="en-US" dirty="0"/>
              <a:t>마스터 제목 스타일 편집</a:t>
            </a:r>
          </a:p>
        </p:txBody>
      </p:sp>
      <p:cxnSp>
        <p:nvCxnSpPr>
          <p:cNvPr id="9" name="직선 연결선 9"/>
          <p:cNvCxnSpPr/>
          <p:nvPr userDrawn="1"/>
        </p:nvCxnSpPr>
        <p:spPr>
          <a:xfrm>
            <a:off x="199578" y="3504329"/>
            <a:ext cx="95059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슬라이드 번호 개체 틀 28"/>
          <p:cNvSpPr>
            <a:spLocks/>
          </p:cNvSpPr>
          <p:nvPr userDrawn="1"/>
        </p:nvSpPr>
        <p:spPr bwMode="gray">
          <a:xfrm>
            <a:off x="9083675" y="213645"/>
            <a:ext cx="6223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>
              <a:defRPr/>
            </a:pPr>
            <a:fld id="{5BCA8C6E-0DB5-43C9-9098-C55FE917D45A}" type="slidenum">
              <a:rPr kumimoji="0" lang="ko-KR" altLang="en-US" sz="1200" smtClean="0">
                <a:solidFill>
                  <a:srgbClr val="89898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아리따-돋움(OTF)-Medium"/>
                <a:sym typeface="아리따-돋움(OTF)-Medium"/>
              </a:rPr>
              <a:pPr algn="r" eaLnBrk="1" hangingPunct="1">
                <a:defRPr/>
              </a:pPr>
              <a:t>‹#›</a:t>
            </a:fld>
            <a:endParaRPr kumimoji="0" lang="en-US" altLang="ko-KR" sz="1200" dirty="0">
              <a:solidFill>
                <a:srgbClr val="898989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아리따-돋움(OTF)-Medium"/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22173196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화면설계 1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직선 연결선 9"/>
          <p:cNvCxnSpPr/>
          <p:nvPr userDrawn="1"/>
        </p:nvCxnSpPr>
        <p:spPr>
          <a:xfrm>
            <a:off x="200025" y="476250"/>
            <a:ext cx="95059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55984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200" b="1" kern="1200" spc="-1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아리따-돋움(OTF)-Medium"/>
              </a:defRPr>
            </a:lvl1pPr>
          </a:lstStyle>
          <a:p>
            <a:pPr lvl="0"/>
            <a:r>
              <a:rPr lang="ko-KR" altLang="en-US" dirty="0"/>
              <a:t>마스터 제목 스타일 편집</a:t>
            </a:r>
          </a:p>
        </p:txBody>
      </p:sp>
      <p:sp>
        <p:nvSpPr>
          <p:cNvPr id="9" name="직사각형 8"/>
          <p:cNvSpPr/>
          <p:nvPr userDrawn="1"/>
        </p:nvSpPr>
        <p:spPr>
          <a:xfrm>
            <a:off x="200025" y="774378"/>
            <a:ext cx="7623175" cy="596699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1" name="표 10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313867151"/>
              </p:ext>
            </p:extLst>
          </p:nvPr>
        </p:nvGraphicFramePr>
        <p:xfrm>
          <a:off x="200024" y="517525"/>
          <a:ext cx="9505944" cy="21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5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40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390096592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211458506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997078332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199383507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478610153"/>
                    </a:ext>
                  </a:extLst>
                </a:gridCol>
                <a:gridCol w="1224576">
                  <a:extLst>
                    <a:ext uri="{9D8B030D-6E8A-4147-A177-3AD203B41FA5}">
                      <a16:colId xmlns:a16="http://schemas.microsoft.com/office/drawing/2014/main" val="4149028393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능</a:t>
                      </a: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Depth_1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Depth_2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행위자</a:t>
                      </a: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3" name="직사각형 12"/>
          <p:cNvSpPr/>
          <p:nvPr userDrawn="1"/>
        </p:nvSpPr>
        <p:spPr>
          <a:xfrm>
            <a:off x="7869238" y="774378"/>
            <a:ext cx="1836737" cy="136525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r>
              <a:rPr lang="en-US" altLang="ko-KR" sz="800">
                <a:latin typeface="맑은 고딕" panose="020B0503020000020004" pitchFamily="50" charset="-127"/>
                <a:ea typeface="맑은 고딕" panose="020B0503020000020004" pitchFamily="50" charset="-127"/>
              </a:rPr>
              <a:t>Description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텍스트 개체 틀 14"/>
          <p:cNvSpPr>
            <a:spLocks noGrp="1"/>
          </p:cNvSpPr>
          <p:nvPr>
            <p:ph type="body" sz="quarter" idx="11"/>
          </p:nvPr>
        </p:nvSpPr>
        <p:spPr>
          <a:xfrm>
            <a:off x="6634940" y="537720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 dirty="0"/>
          </a:p>
        </p:txBody>
      </p:sp>
      <p:sp>
        <p:nvSpPr>
          <p:cNvPr id="16" name="텍스트 개체 틀 14"/>
          <p:cNvSpPr>
            <a:spLocks noGrp="1"/>
          </p:cNvSpPr>
          <p:nvPr>
            <p:ph type="body" sz="quarter" idx="12"/>
          </p:nvPr>
        </p:nvSpPr>
        <p:spPr>
          <a:xfrm>
            <a:off x="4757709" y="537720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7" name="텍스트 개체 틀 14"/>
          <p:cNvSpPr>
            <a:spLocks noGrp="1"/>
          </p:cNvSpPr>
          <p:nvPr>
            <p:ph type="body" sz="quarter" idx="13"/>
          </p:nvPr>
        </p:nvSpPr>
        <p:spPr>
          <a:xfrm>
            <a:off x="8498677" y="537721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 dirty="0"/>
          </a:p>
        </p:txBody>
      </p:sp>
      <p:sp>
        <p:nvSpPr>
          <p:cNvPr id="18" name="텍스트 개체 틀 14"/>
          <p:cNvSpPr>
            <a:spLocks noGrp="1"/>
          </p:cNvSpPr>
          <p:nvPr>
            <p:ph type="body" sz="quarter" idx="14"/>
          </p:nvPr>
        </p:nvSpPr>
        <p:spPr>
          <a:xfrm>
            <a:off x="872922" y="537720"/>
            <a:ext cx="3152457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lang="ko-KR" altLang="en-US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 dirty="0"/>
          </a:p>
        </p:txBody>
      </p:sp>
      <p:sp>
        <p:nvSpPr>
          <p:cNvPr id="20" name="슬라이드 번호 개체 틀 28"/>
          <p:cNvSpPr>
            <a:spLocks/>
          </p:cNvSpPr>
          <p:nvPr userDrawn="1"/>
        </p:nvSpPr>
        <p:spPr bwMode="gray">
          <a:xfrm>
            <a:off x="9083675" y="213645"/>
            <a:ext cx="6223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>
              <a:defRPr/>
            </a:pPr>
            <a:fld id="{5BCA8C6E-0DB5-43C9-9098-C55FE917D45A}" type="slidenum">
              <a:rPr kumimoji="0" lang="ko-KR" altLang="en-US" sz="1200" smtClean="0">
                <a:solidFill>
                  <a:srgbClr val="89898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아리따-돋움(OTF)-Medium"/>
                <a:sym typeface="아리따-돋움(OTF)-Medium"/>
              </a:rPr>
              <a:pPr algn="r" eaLnBrk="1" hangingPunct="1">
                <a:defRPr/>
              </a:pPr>
              <a:t>‹#›</a:t>
            </a:fld>
            <a:endParaRPr kumimoji="0" lang="en-US" altLang="ko-KR" sz="1200" dirty="0">
              <a:solidFill>
                <a:srgbClr val="898989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아리따-돋움(OTF)-Medium"/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8366497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화면설계 1/3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직선 연결선 9"/>
          <p:cNvCxnSpPr/>
          <p:nvPr userDrawn="1"/>
        </p:nvCxnSpPr>
        <p:spPr>
          <a:xfrm>
            <a:off x="200025" y="476250"/>
            <a:ext cx="95059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55984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200" b="1" kern="1200" spc="-1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아리따-돋움(OTF)-Medium"/>
              </a:defRPr>
            </a:lvl1pPr>
          </a:lstStyle>
          <a:p>
            <a:pPr lvl="0"/>
            <a:r>
              <a:rPr lang="ko-KR" altLang="en-US" dirty="0"/>
              <a:t>마스터 제목 스타일 편집</a:t>
            </a:r>
          </a:p>
        </p:txBody>
      </p:sp>
      <p:graphicFrame>
        <p:nvGraphicFramePr>
          <p:cNvPr id="11" name="표 10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59764328"/>
              </p:ext>
            </p:extLst>
          </p:nvPr>
        </p:nvGraphicFramePr>
        <p:xfrm>
          <a:off x="200024" y="517525"/>
          <a:ext cx="9505944" cy="21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5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40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390096592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211458506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997078332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199383507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478610153"/>
                    </a:ext>
                  </a:extLst>
                </a:gridCol>
                <a:gridCol w="1224576">
                  <a:extLst>
                    <a:ext uri="{9D8B030D-6E8A-4147-A177-3AD203B41FA5}">
                      <a16:colId xmlns:a16="http://schemas.microsoft.com/office/drawing/2014/main" val="4149028393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위치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화면</a:t>
                      </a:r>
                      <a:r>
                        <a:rPr lang="en-US" altLang="ko-KR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ID</a:t>
                      </a:r>
                      <a:endParaRPr lang="ko-KR" altLang="en-US" sz="8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버전</a:t>
                      </a: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최종수정일</a:t>
                      </a: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3" name="직사각형 12"/>
          <p:cNvSpPr/>
          <p:nvPr userDrawn="1"/>
        </p:nvSpPr>
        <p:spPr>
          <a:xfrm>
            <a:off x="7869238" y="774378"/>
            <a:ext cx="1836737" cy="136525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r>
              <a:rPr lang="en-US" altLang="ko-KR" sz="800">
                <a:latin typeface="맑은 고딕" panose="020B0503020000020004" pitchFamily="50" charset="-127"/>
                <a:ea typeface="맑은 고딕" panose="020B0503020000020004" pitchFamily="50" charset="-127"/>
              </a:rPr>
              <a:t>Description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텍스트 개체 틀 14"/>
          <p:cNvSpPr>
            <a:spLocks noGrp="1"/>
          </p:cNvSpPr>
          <p:nvPr>
            <p:ph type="body" sz="quarter" idx="11"/>
          </p:nvPr>
        </p:nvSpPr>
        <p:spPr>
          <a:xfrm>
            <a:off x="6634940" y="537720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6" name="텍스트 개체 틀 14"/>
          <p:cNvSpPr>
            <a:spLocks noGrp="1"/>
          </p:cNvSpPr>
          <p:nvPr>
            <p:ph type="body" sz="quarter" idx="12"/>
          </p:nvPr>
        </p:nvSpPr>
        <p:spPr>
          <a:xfrm>
            <a:off x="4757709" y="537720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7" name="텍스트 개체 틀 14"/>
          <p:cNvSpPr>
            <a:spLocks noGrp="1"/>
          </p:cNvSpPr>
          <p:nvPr>
            <p:ph type="body" sz="quarter" idx="13"/>
          </p:nvPr>
        </p:nvSpPr>
        <p:spPr>
          <a:xfrm>
            <a:off x="8498677" y="537721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8" name="텍스트 개체 틀 14"/>
          <p:cNvSpPr>
            <a:spLocks noGrp="1"/>
          </p:cNvSpPr>
          <p:nvPr>
            <p:ph type="body" sz="quarter" idx="14"/>
          </p:nvPr>
        </p:nvSpPr>
        <p:spPr>
          <a:xfrm>
            <a:off x="872922" y="537720"/>
            <a:ext cx="3152457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lang="ko-KR" altLang="en-US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21" name="슬라이드 번호 개체 틀 28"/>
          <p:cNvSpPr>
            <a:spLocks/>
          </p:cNvSpPr>
          <p:nvPr userDrawn="1"/>
        </p:nvSpPr>
        <p:spPr bwMode="gray">
          <a:xfrm>
            <a:off x="9083675" y="213645"/>
            <a:ext cx="6223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>
              <a:defRPr/>
            </a:pPr>
            <a:fld id="{5BCA8C6E-0DB5-43C9-9098-C55FE917D45A}" type="slidenum">
              <a:rPr kumimoji="0" lang="ko-KR" altLang="en-US" sz="1200" smtClean="0">
                <a:solidFill>
                  <a:srgbClr val="89898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아리따-돋움(OTF)-Medium"/>
                <a:sym typeface="아리따-돋움(OTF)-Medium"/>
              </a:rPr>
              <a:pPr algn="r" eaLnBrk="1" hangingPunct="1">
                <a:defRPr/>
              </a:pPr>
              <a:t>‹#›</a:t>
            </a:fld>
            <a:endParaRPr kumimoji="0" lang="en-US" altLang="ko-KR" sz="1200" dirty="0">
              <a:solidFill>
                <a:srgbClr val="898989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아리따-돋움(OTF)-Medium"/>
              <a:sym typeface="아리따-돋움(OTF)-Medium"/>
            </a:endParaRPr>
          </a:p>
        </p:txBody>
      </p:sp>
      <p:sp>
        <p:nvSpPr>
          <p:cNvPr id="22" name="직사각형 21"/>
          <p:cNvSpPr/>
          <p:nvPr userDrawn="1"/>
        </p:nvSpPr>
        <p:spPr>
          <a:xfrm>
            <a:off x="200025" y="774378"/>
            <a:ext cx="7623175" cy="596699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직사각형 22"/>
          <p:cNvSpPr/>
          <p:nvPr userDrawn="1"/>
        </p:nvSpPr>
        <p:spPr>
          <a:xfrm>
            <a:off x="200024" y="6561382"/>
            <a:ext cx="7623176" cy="179986"/>
          </a:xfrm>
          <a:prstGeom prst="rect">
            <a:avLst/>
          </a:prstGeom>
          <a:solidFill>
            <a:srgbClr val="FFFF99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900" b="1">
                <a:solidFill>
                  <a:schemeClr val="tx1"/>
                </a:solidFill>
                <a:latin typeface="맑은 고딕" panose="020B0503020000020004" pitchFamily="50" charset="-127"/>
                <a:cs typeface="Segoe UI" panose="020B0502040204020203" pitchFamily="34" charset="0"/>
              </a:rPr>
              <a:t>다음페이지 계속</a:t>
            </a:r>
          </a:p>
        </p:txBody>
      </p:sp>
    </p:spTree>
    <p:extLst>
      <p:ext uri="{BB962C8B-B14F-4D97-AF65-F5344CB8AC3E}">
        <p14:creationId xmlns:p14="http://schemas.microsoft.com/office/powerpoint/2010/main" val="5809342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화면설계 2/3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직선 연결선 9"/>
          <p:cNvCxnSpPr/>
          <p:nvPr userDrawn="1"/>
        </p:nvCxnSpPr>
        <p:spPr>
          <a:xfrm>
            <a:off x="200025" y="476250"/>
            <a:ext cx="95059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55984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200" b="1" kern="1200" spc="-1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아리따-돋움(OTF)-Medium"/>
              </a:defRPr>
            </a:lvl1pPr>
          </a:lstStyle>
          <a:p>
            <a:pPr lvl="0"/>
            <a:r>
              <a:rPr lang="ko-KR" altLang="en-US" dirty="0"/>
              <a:t>마스터 제목 스타일 편집</a:t>
            </a:r>
          </a:p>
        </p:txBody>
      </p:sp>
      <p:graphicFrame>
        <p:nvGraphicFramePr>
          <p:cNvPr id="11" name="표 10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74804419"/>
              </p:ext>
            </p:extLst>
          </p:nvPr>
        </p:nvGraphicFramePr>
        <p:xfrm>
          <a:off x="200024" y="517525"/>
          <a:ext cx="9505944" cy="21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5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40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390096592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211458506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997078332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199383507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478610153"/>
                    </a:ext>
                  </a:extLst>
                </a:gridCol>
                <a:gridCol w="1224576">
                  <a:extLst>
                    <a:ext uri="{9D8B030D-6E8A-4147-A177-3AD203B41FA5}">
                      <a16:colId xmlns:a16="http://schemas.microsoft.com/office/drawing/2014/main" val="4149028393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위치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화면</a:t>
                      </a:r>
                      <a:r>
                        <a:rPr lang="en-US" altLang="ko-KR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ID</a:t>
                      </a:r>
                      <a:endParaRPr lang="ko-KR" altLang="en-US" sz="8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버전</a:t>
                      </a: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최종수정일</a:t>
                      </a: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3" name="직사각형 12"/>
          <p:cNvSpPr/>
          <p:nvPr userDrawn="1"/>
        </p:nvSpPr>
        <p:spPr>
          <a:xfrm>
            <a:off x="7869238" y="774378"/>
            <a:ext cx="1836737" cy="136525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r>
              <a:rPr lang="en-US" altLang="ko-KR" sz="800">
                <a:latin typeface="맑은 고딕" panose="020B0503020000020004" pitchFamily="50" charset="-127"/>
                <a:ea typeface="맑은 고딕" panose="020B0503020000020004" pitchFamily="50" charset="-127"/>
              </a:rPr>
              <a:t>Description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텍스트 개체 틀 14"/>
          <p:cNvSpPr>
            <a:spLocks noGrp="1"/>
          </p:cNvSpPr>
          <p:nvPr>
            <p:ph type="body" sz="quarter" idx="11"/>
          </p:nvPr>
        </p:nvSpPr>
        <p:spPr>
          <a:xfrm>
            <a:off x="6634940" y="537720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6" name="텍스트 개체 틀 14"/>
          <p:cNvSpPr>
            <a:spLocks noGrp="1"/>
          </p:cNvSpPr>
          <p:nvPr>
            <p:ph type="body" sz="quarter" idx="12"/>
          </p:nvPr>
        </p:nvSpPr>
        <p:spPr>
          <a:xfrm>
            <a:off x="4757709" y="537720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7" name="텍스트 개체 틀 14"/>
          <p:cNvSpPr>
            <a:spLocks noGrp="1"/>
          </p:cNvSpPr>
          <p:nvPr>
            <p:ph type="body" sz="quarter" idx="13"/>
          </p:nvPr>
        </p:nvSpPr>
        <p:spPr>
          <a:xfrm>
            <a:off x="8498677" y="537721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8" name="텍스트 개체 틀 14"/>
          <p:cNvSpPr>
            <a:spLocks noGrp="1"/>
          </p:cNvSpPr>
          <p:nvPr>
            <p:ph type="body" sz="quarter" idx="14"/>
          </p:nvPr>
        </p:nvSpPr>
        <p:spPr>
          <a:xfrm>
            <a:off x="872922" y="537720"/>
            <a:ext cx="3152457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lang="ko-KR" altLang="en-US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20" name="슬라이드 번호 개체 틀 28"/>
          <p:cNvSpPr>
            <a:spLocks/>
          </p:cNvSpPr>
          <p:nvPr userDrawn="1"/>
        </p:nvSpPr>
        <p:spPr bwMode="gray">
          <a:xfrm>
            <a:off x="9083675" y="213645"/>
            <a:ext cx="6223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>
              <a:defRPr/>
            </a:pPr>
            <a:fld id="{5BCA8C6E-0DB5-43C9-9098-C55FE917D45A}" type="slidenum">
              <a:rPr kumimoji="0" lang="ko-KR" altLang="en-US" sz="1200" smtClean="0">
                <a:solidFill>
                  <a:srgbClr val="89898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아리따-돋움(OTF)-Medium"/>
                <a:sym typeface="아리따-돋움(OTF)-Medium"/>
              </a:rPr>
              <a:pPr algn="r" eaLnBrk="1" hangingPunct="1">
                <a:defRPr/>
              </a:pPr>
              <a:t>‹#›</a:t>
            </a:fld>
            <a:endParaRPr kumimoji="0" lang="en-US" altLang="ko-KR" sz="1200" dirty="0">
              <a:solidFill>
                <a:srgbClr val="898989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아리따-돋움(OTF)-Medium"/>
              <a:sym typeface="아리따-돋움(OTF)-Medium"/>
            </a:endParaRPr>
          </a:p>
        </p:txBody>
      </p:sp>
      <p:sp>
        <p:nvSpPr>
          <p:cNvPr id="23" name="직사각형 22"/>
          <p:cNvSpPr/>
          <p:nvPr userDrawn="1"/>
        </p:nvSpPr>
        <p:spPr>
          <a:xfrm>
            <a:off x="200025" y="774378"/>
            <a:ext cx="7623175" cy="596699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직사각형 23"/>
          <p:cNvSpPr/>
          <p:nvPr userDrawn="1"/>
        </p:nvSpPr>
        <p:spPr>
          <a:xfrm>
            <a:off x="200024" y="6561382"/>
            <a:ext cx="7623176" cy="179986"/>
          </a:xfrm>
          <a:prstGeom prst="rect">
            <a:avLst/>
          </a:prstGeom>
          <a:solidFill>
            <a:srgbClr val="FFFF99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900" b="1">
                <a:solidFill>
                  <a:schemeClr val="tx1"/>
                </a:solidFill>
                <a:latin typeface="맑은 고딕" panose="020B0503020000020004" pitchFamily="50" charset="-127"/>
                <a:cs typeface="Segoe UI" panose="020B0502040204020203" pitchFamily="34" charset="0"/>
              </a:rPr>
              <a:t>다음페이지 계속</a:t>
            </a:r>
          </a:p>
        </p:txBody>
      </p:sp>
      <p:sp>
        <p:nvSpPr>
          <p:cNvPr id="25" name="직사각형 24"/>
          <p:cNvSpPr/>
          <p:nvPr userDrawn="1"/>
        </p:nvSpPr>
        <p:spPr>
          <a:xfrm>
            <a:off x="200024" y="774378"/>
            <a:ext cx="7623176" cy="179986"/>
          </a:xfrm>
          <a:prstGeom prst="rect">
            <a:avLst/>
          </a:prstGeom>
          <a:solidFill>
            <a:srgbClr val="FFFF99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900" b="1">
                <a:solidFill>
                  <a:schemeClr val="tx1"/>
                </a:solidFill>
                <a:latin typeface="맑은 고딕" panose="020B0503020000020004" pitchFamily="50" charset="-127"/>
                <a:cs typeface="Segoe UI" panose="020B0502040204020203" pitchFamily="34" charset="0"/>
              </a:rPr>
              <a:t>이전페이지 이어서</a:t>
            </a:r>
          </a:p>
        </p:txBody>
      </p:sp>
    </p:spTree>
    <p:extLst>
      <p:ext uri="{BB962C8B-B14F-4D97-AF65-F5344CB8AC3E}">
        <p14:creationId xmlns:p14="http://schemas.microsoft.com/office/powerpoint/2010/main" val="14180624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화면설계 3/3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직선 연결선 9"/>
          <p:cNvCxnSpPr/>
          <p:nvPr userDrawn="1"/>
        </p:nvCxnSpPr>
        <p:spPr>
          <a:xfrm>
            <a:off x="200025" y="476250"/>
            <a:ext cx="95059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55984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200" b="1" kern="1200" spc="-1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아리따-돋움(OTF)-Medium"/>
              </a:defRPr>
            </a:lvl1pPr>
          </a:lstStyle>
          <a:p>
            <a:pPr lvl="0"/>
            <a:r>
              <a:rPr lang="ko-KR" altLang="en-US" dirty="0"/>
              <a:t>마스터 제목 스타일 편집</a:t>
            </a:r>
          </a:p>
        </p:txBody>
      </p:sp>
      <p:graphicFrame>
        <p:nvGraphicFramePr>
          <p:cNvPr id="11" name="표 10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94263968"/>
              </p:ext>
            </p:extLst>
          </p:nvPr>
        </p:nvGraphicFramePr>
        <p:xfrm>
          <a:off x="200024" y="517525"/>
          <a:ext cx="9505944" cy="21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5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40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390096592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211458506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997078332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199383507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478610153"/>
                    </a:ext>
                  </a:extLst>
                </a:gridCol>
                <a:gridCol w="1224576">
                  <a:extLst>
                    <a:ext uri="{9D8B030D-6E8A-4147-A177-3AD203B41FA5}">
                      <a16:colId xmlns:a16="http://schemas.microsoft.com/office/drawing/2014/main" val="4149028393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위치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화면</a:t>
                      </a:r>
                      <a:r>
                        <a:rPr lang="en-US" altLang="ko-KR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ID</a:t>
                      </a:r>
                      <a:endParaRPr lang="ko-KR" altLang="en-US" sz="8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버전</a:t>
                      </a: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최종수정일</a:t>
                      </a: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3" name="직사각형 12"/>
          <p:cNvSpPr/>
          <p:nvPr userDrawn="1"/>
        </p:nvSpPr>
        <p:spPr>
          <a:xfrm>
            <a:off x="7869238" y="774378"/>
            <a:ext cx="1836737" cy="136525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r>
              <a:rPr lang="en-US" altLang="ko-KR" sz="800">
                <a:latin typeface="맑은 고딕" panose="020B0503020000020004" pitchFamily="50" charset="-127"/>
                <a:ea typeface="맑은 고딕" panose="020B0503020000020004" pitchFamily="50" charset="-127"/>
              </a:rPr>
              <a:t>Description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텍스트 개체 틀 14"/>
          <p:cNvSpPr>
            <a:spLocks noGrp="1"/>
          </p:cNvSpPr>
          <p:nvPr>
            <p:ph type="body" sz="quarter" idx="11"/>
          </p:nvPr>
        </p:nvSpPr>
        <p:spPr>
          <a:xfrm>
            <a:off x="6634940" y="537720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6" name="텍스트 개체 틀 14"/>
          <p:cNvSpPr>
            <a:spLocks noGrp="1"/>
          </p:cNvSpPr>
          <p:nvPr>
            <p:ph type="body" sz="quarter" idx="12"/>
          </p:nvPr>
        </p:nvSpPr>
        <p:spPr>
          <a:xfrm>
            <a:off x="4757709" y="537720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7" name="텍스트 개체 틀 14"/>
          <p:cNvSpPr>
            <a:spLocks noGrp="1"/>
          </p:cNvSpPr>
          <p:nvPr>
            <p:ph type="body" sz="quarter" idx="13"/>
          </p:nvPr>
        </p:nvSpPr>
        <p:spPr>
          <a:xfrm>
            <a:off x="8498677" y="537721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8" name="텍스트 개체 틀 14"/>
          <p:cNvSpPr>
            <a:spLocks noGrp="1"/>
          </p:cNvSpPr>
          <p:nvPr>
            <p:ph type="body" sz="quarter" idx="14"/>
          </p:nvPr>
        </p:nvSpPr>
        <p:spPr>
          <a:xfrm>
            <a:off x="872922" y="537720"/>
            <a:ext cx="3152457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lang="ko-KR" altLang="en-US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21" name="직사각형 20"/>
          <p:cNvSpPr/>
          <p:nvPr userDrawn="1"/>
        </p:nvSpPr>
        <p:spPr>
          <a:xfrm>
            <a:off x="200024" y="774378"/>
            <a:ext cx="7623176" cy="179986"/>
          </a:xfrm>
          <a:prstGeom prst="rect">
            <a:avLst/>
          </a:prstGeom>
          <a:solidFill>
            <a:srgbClr val="FFFF99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900" b="1">
                <a:solidFill>
                  <a:schemeClr val="tx1"/>
                </a:solidFill>
                <a:latin typeface="맑은 고딕" panose="020B0503020000020004" pitchFamily="50" charset="-127"/>
                <a:cs typeface="Segoe UI" panose="020B0502040204020203" pitchFamily="34" charset="0"/>
              </a:rPr>
              <a:t>이전페이지 이어서</a:t>
            </a:r>
          </a:p>
        </p:txBody>
      </p:sp>
      <p:sp>
        <p:nvSpPr>
          <p:cNvPr id="20" name="슬라이드 번호 개체 틀 28"/>
          <p:cNvSpPr>
            <a:spLocks/>
          </p:cNvSpPr>
          <p:nvPr userDrawn="1"/>
        </p:nvSpPr>
        <p:spPr bwMode="gray">
          <a:xfrm>
            <a:off x="9083675" y="213645"/>
            <a:ext cx="6223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>
              <a:defRPr/>
            </a:pPr>
            <a:fld id="{5BCA8C6E-0DB5-43C9-9098-C55FE917D45A}" type="slidenum">
              <a:rPr kumimoji="0" lang="ko-KR" altLang="en-US" sz="1200" smtClean="0">
                <a:solidFill>
                  <a:srgbClr val="89898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아리따-돋움(OTF)-Medium"/>
                <a:sym typeface="아리따-돋움(OTF)-Medium"/>
              </a:rPr>
              <a:pPr algn="r" eaLnBrk="1" hangingPunct="1">
                <a:defRPr/>
              </a:pPr>
              <a:t>‹#›</a:t>
            </a:fld>
            <a:endParaRPr kumimoji="0" lang="en-US" altLang="ko-KR" sz="1200" dirty="0">
              <a:solidFill>
                <a:srgbClr val="898989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아리따-돋움(OTF)-Medium"/>
              <a:sym typeface="아리따-돋움(OTF)-Medium"/>
            </a:endParaRPr>
          </a:p>
        </p:txBody>
      </p:sp>
      <p:sp>
        <p:nvSpPr>
          <p:cNvPr id="22" name="직사각형 21"/>
          <p:cNvSpPr/>
          <p:nvPr userDrawn="1"/>
        </p:nvSpPr>
        <p:spPr>
          <a:xfrm>
            <a:off x="200025" y="774378"/>
            <a:ext cx="7623175" cy="596699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035766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NB/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직선 연결선 9"/>
          <p:cNvCxnSpPr/>
          <p:nvPr userDrawn="1"/>
        </p:nvCxnSpPr>
        <p:spPr>
          <a:xfrm>
            <a:off x="200025" y="476250"/>
            <a:ext cx="95059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55984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200" b="1" kern="1200" spc="-1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아리따-돋움(OTF)-Medium"/>
              </a:defRPr>
            </a:lvl1pPr>
          </a:lstStyle>
          <a:p>
            <a:pPr lvl="0"/>
            <a:r>
              <a:rPr lang="ko-KR" altLang="en-US" dirty="0"/>
              <a:t>마스터 제목 스타일 편집</a:t>
            </a:r>
          </a:p>
        </p:txBody>
      </p:sp>
      <p:graphicFrame>
        <p:nvGraphicFramePr>
          <p:cNvPr id="11" name="표 10"/>
          <p:cNvGraphicFramePr>
            <a:graphicFrameLocks noGrp="1"/>
          </p:cNvGraphicFramePr>
          <p:nvPr userDrawn="1">
            <p:extLst/>
          </p:nvPr>
        </p:nvGraphicFramePr>
        <p:xfrm>
          <a:off x="200024" y="517525"/>
          <a:ext cx="9505944" cy="21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5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40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390096592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211458506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997078332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199383507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478610153"/>
                    </a:ext>
                  </a:extLst>
                </a:gridCol>
                <a:gridCol w="1224576">
                  <a:extLst>
                    <a:ext uri="{9D8B030D-6E8A-4147-A177-3AD203B41FA5}">
                      <a16:colId xmlns:a16="http://schemas.microsoft.com/office/drawing/2014/main" val="4149028393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위치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화면</a:t>
                      </a:r>
                      <a:r>
                        <a:rPr lang="en-US" altLang="ko-KR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ID</a:t>
                      </a:r>
                      <a:endParaRPr lang="ko-KR" altLang="en-US" sz="8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버전</a:t>
                      </a: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최종수정일</a:t>
                      </a: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3" name="직사각형 12"/>
          <p:cNvSpPr/>
          <p:nvPr userDrawn="1"/>
        </p:nvSpPr>
        <p:spPr>
          <a:xfrm>
            <a:off x="7869238" y="774378"/>
            <a:ext cx="1836737" cy="136525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r>
              <a:rPr lang="en-US" altLang="ko-KR" sz="800">
                <a:latin typeface="맑은 고딕" panose="020B0503020000020004" pitchFamily="50" charset="-127"/>
                <a:ea typeface="맑은 고딕" panose="020B0503020000020004" pitchFamily="50" charset="-127"/>
              </a:rPr>
              <a:t>Description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텍스트 개체 틀 14"/>
          <p:cNvSpPr>
            <a:spLocks noGrp="1"/>
          </p:cNvSpPr>
          <p:nvPr>
            <p:ph type="body" sz="quarter" idx="11"/>
          </p:nvPr>
        </p:nvSpPr>
        <p:spPr>
          <a:xfrm>
            <a:off x="6634940" y="537720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6" name="텍스트 개체 틀 14"/>
          <p:cNvSpPr>
            <a:spLocks noGrp="1"/>
          </p:cNvSpPr>
          <p:nvPr>
            <p:ph type="body" sz="quarter" idx="12"/>
          </p:nvPr>
        </p:nvSpPr>
        <p:spPr>
          <a:xfrm>
            <a:off x="4757709" y="537720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7" name="텍스트 개체 틀 14"/>
          <p:cNvSpPr>
            <a:spLocks noGrp="1"/>
          </p:cNvSpPr>
          <p:nvPr>
            <p:ph type="body" sz="quarter" idx="13"/>
          </p:nvPr>
        </p:nvSpPr>
        <p:spPr>
          <a:xfrm>
            <a:off x="8498677" y="537721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8" name="텍스트 개체 틀 14"/>
          <p:cNvSpPr>
            <a:spLocks noGrp="1"/>
          </p:cNvSpPr>
          <p:nvPr>
            <p:ph type="body" sz="quarter" idx="14"/>
          </p:nvPr>
        </p:nvSpPr>
        <p:spPr>
          <a:xfrm>
            <a:off x="872922" y="537720"/>
            <a:ext cx="3152457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lang="ko-KR" altLang="en-US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21" name="직사각형 20"/>
          <p:cNvSpPr/>
          <p:nvPr userDrawn="1"/>
        </p:nvSpPr>
        <p:spPr>
          <a:xfrm>
            <a:off x="200024" y="774378"/>
            <a:ext cx="7623176" cy="17998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altLang="ko-KR" sz="900" b="1">
                <a:solidFill>
                  <a:schemeClr val="tx1"/>
                </a:solidFill>
                <a:latin typeface="맑은 고딕" panose="020B0503020000020004" pitchFamily="50" charset="-127"/>
                <a:cs typeface="Segoe UI" panose="020B0502040204020203" pitchFamily="34" charset="0"/>
              </a:rPr>
              <a:t>Header/GNB</a:t>
            </a:r>
            <a:endParaRPr lang="ko-KR" altLang="en-US" sz="900" b="1">
              <a:solidFill>
                <a:schemeClr val="tx1"/>
              </a:solidFill>
              <a:latin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20" name="슬라이드 번호 개체 틀 28"/>
          <p:cNvSpPr>
            <a:spLocks/>
          </p:cNvSpPr>
          <p:nvPr userDrawn="1"/>
        </p:nvSpPr>
        <p:spPr bwMode="gray">
          <a:xfrm>
            <a:off x="9083675" y="213645"/>
            <a:ext cx="6223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>
              <a:defRPr/>
            </a:pPr>
            <a:fld id="{5BCA8C6E-0DB5-43C9-9098-C55FE917D45A}" type="slidenum">
              <a:rPr kumimoji="0" lang="ko-KR" altLang="en-US" sz="1200" smtClean="0">
                <a:solidFill>
                  <a:srgbClr val="89898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아리따-돋움(OTF)-Medium"/>
                <a:sym typeface="아리따-돋움(OTF)-Medium"/>
              </a:rPr>
              <a:pPr algn="r" eaLnBrk="1" hangingPunct="1">
                <a:defRPr/>
              </a:pPr>
              <a:t>‹#›</a:t>
            </a:fld>
            <a:endParaRPr kumimoji="0" lang="en-US" altLang="ko-KR" sz="1200" dirty="0">
              <a:solidFill>
                <a:srgbClr val="898989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아리따-돋움(OTF)-Medium"/>
              <a:sym typeface="아리따-돋움(OTF)-Medium"/>
            </a:endParaRPr>
          </a:p>
        </p:txBody>
      </p:sp>
      <p:sp>
        <p:nvSpPr>
          <p:cNvPr id="22" name="직사각형 21"/>
          <p:cNvSpPr/>
          <p:nvPr userDrawn="1"/>
        </p:nvSpPr>
        <p:spPr>
          <a:xfrm>
            <a:off x="200025" y="774378"/>
            <a:ext cx="7623175" cy="596699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98710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N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1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직선 연결선 9"/>
          <p:cNvCxnSpPr/>
          <p:nvPr userDrawn="1"/>
        </p:nvCxnSpPr>
        <p:spPr>
          <a:xfrm>
            <a:off x="200025" y="476250"/>
            <a:ext cx="95059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55984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200" b="1" kern="1200" spc="-1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아리따-돋움(OTF)-Medium"/>
              </a:defRPr>
            </a:lvl1pPr>
          </a:lstStyle>
          <a:p>
            <a:pPr lvl="0"/>
            <a:r>
              <a:rPr lang="ko-KR" altLang="en-US" dirty="0"/>
              <a:t>마스터 제목 스타일 편집</a:t>
            </a:r>
          </a:p>
        </p:txBody>
      </p:sp>
      <p:graphicFrame>
        <p:nvGraphicFramePr>
          <p:cNvPr id="11" name="표 10"/>
          <p:cNvGraphicFramePr>
            <a:graphicFrameLocks noGrp="1"/>
          </p:cNvGraphicFramePr>
          <p:nvPr userDrawn="1">
            <p:extLst/>
          </p:nvPr>
        </p:nvGraphicFramePr>
        <p:xfrm>
          <a:off x="200024" y="517525"/>
          <a:ext cx="9505944" cy="21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5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40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390096592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211458506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997078332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199383507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478610153"/>
                    </a:ext>
                  </a:extLst>
                </a:gridCol>
                <a:gridCol w="1224576">
                  <a:extLst>
                    <a:ext uri="{9D8B030D-6E8A-4147-A177-3AD203B41FA5}">
                      <a16:colId xmlns:a16="http://schemas.microsoft.com/office/drawing/2014/main" val="4149028393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위치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화면</a:t>
                      </a:r>
                      <a:r>
                        <a:rPr lang="en-US" altLang="ko-KR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ID</a:t>
                      </a:r>
                      <a:endParaRPr lang="ko-KR" altLang="en-US" sz="8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버전</a:t>
                      </a: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최종수정일</a:t>
                      </a: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20" marR="36020" marT="36013" marB="36013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3" name="직사각형 12"/>
          <p:cNvSpPr/>
          <p:nvPr userDrawn="1"/>
        </p:nvSpPr>
        <p:spPr>
          <a:xfrm>
            <a:off x="7869238" y="774378"/>
            <a:ext cx="1836737" cy="136525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r>
              <a:rPr lang="en-US" altLang="ko-KR" sz="800">
                <a:latin typeface="맑은 고딕" panose="020B0503020000020004" pitchFamily="50" charset="-127"/>
                <a:ea typeface="맑은 고딕" panose="020B0503020000020004" pitchFamily="50" charset="-127"/>
              </a:rPr>
              <a:t>Description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텍스트 개체 틀 14"/>
          <p:cNvSpPr>
            <a:spLocks noGrp="1"/>
          </p:cNvSpPr>
          <p:nvPr>
            <p:ph type="body" sz="quarter" idx="11"/>
          </p:nvPr>
        </p:nvSpPr>
        <p:spPr>
          <a:xfrm>
            <a:off x="6634940" y="537720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6" name="텍스트 개체 틀 14"/>
          <p:cNvSpPr>
            <a:spLocks noGrp="1"/>
          </p:cNvSpPr>
          <p:nvPr>
            <p:ph type="body" sz="quarter" idx="12"/>
          </p:nvPr>
        </p:nvSpPr>
        <p:spPr>
          <a:xfrm>
            <a:off x="4757709" y="537720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7" name="텍스트 개체 틀 14"/>
          <p:cNvSpPr>
            <a:spLocks noGrp="1"/>
          </p:cNvSpPr>
          <p:nvPr>
            <p:ph type="body" sz="quarter" idx="13"/>
          </p:nvPr>
        </p:nvSpPr>
        <p:spPr>
          <a:xfrm>
            <a:off x="8498677" y="537721"/>
            <a:ext cx="1181895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sz="8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18" name="텍스트 개체 틀 14"/>
          <p:cNvSpPr>
            <a:spLocks noGrp="1"/>
          </p:cNvSpPr>
          <p:nvPr>
            <p:ph type="body" sz="quarter" idx="14"/>
          </p:nvPr>
        </p:nvSpPr>
        <p:spPr>
          <a:xfrm>
            <a:off x="872922" y="537720"/>
            <a:ext cx="3152457" cy="162209"/>
          </a:xfrm>
          <a:prstGeom prst="rect">
            <a:avLst/>
          </a:prstGeom>
        </p:spPr>
        <p:txBody>
          <a:bodyPr lIns="18000" tIns="18000" rIns="18000" bIns="18000" anchor="ctr"/>
          <a:lstStyle>
            <a:lvl1pPr marL="0" indent="0">
              <a:buFontTx/>
              <a:buNone/>
              <a:defRPr lang="ko-KR" altLang="en-US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endParaRPr lang="ko-KR" altLang="en-US"/>
          </a:p>
        </p:txBody>
      </p:sp>
      <p:sp>
        <p:nvSpPr>
          <p:cNvPr id="20" name="슬라이드 번호 개체 틀 28"/>
          <p:cNvSpPr>
            <a:spLocks/>
          </p:cNvSpPr>
          <p:nvPr userDrawn="1"/>
        </p:nvSpPr>
        <p:spPr bwMode="gray">
          <a:xfrm>
            <a:off x="9083675" y="213645"/>
            <a:ext cx="6223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>
              <a:defRPr/>
            </a:pPr>
            <a:fld id="{5BCA8C6E-0DB5-43C9-9098-C55FE917D45A}" type="slidenum">
              <a:rPr kumimoji="0" lang="ko-KR" altLang="en-US" sz="1200" smtClean="0">
                <a:solidFill>
                  <a:srgbClr val="89898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아리따-돋움(OTF)-Medium"/>
                <a:sym typeface="아리따-돋움(OTF)-Medium"/>
              </a:rPr>
              <a:pPr algn="r" eaLnBrk="1" hangingPunct="1">
                <a:defRPr/>
              </a:pPr>
              <a:t>‹#›</a:t>
            </a:fld>
            <a:endParaRPr kumimoji="0" lang="en-US" altLang="ko-KR" sz="1200" dirty="0">
              <a:solidFill>
                <a:srgbClr val="898989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아리따-돋움(OTF)-Medium"/>
              <a:sym typeface="아리따-돋움(OTF)-Medium"/>
            </a:endParaRPr>
          </a:p>
        </p:txBody>
      </p:sp>
      <p:sp>
        <p:nvSpPr>
          <p:cNvPr id="22" name="직사각형 21"/>
          <p:cNvSpPr/>
          <p:nvPr userDrawn="1"/>
        </p:nvSpPr>
        <p:spPr>
          <a:xfrm>
            <a:off x="200025" y="774378"/>
            <a:ext cx="7623175" cy="596699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직사각형 22"/>
          <p:cNvSpPr/>
          <p:nvPr userDrawn="1"/>
        </p:nvSpPr>
        <p:spPr>
          <a:xfrm>
            <a:off x="200024" y="6561382"/>
            <a:ext cx="7623176" cy="179986"/>
          </a:xfrm>
          <a:prstGeom prst="rect">
            <a:avLst/>
          </a:prstGeom>
          <a:solidFill>
            <a:srgbClr val="FFFF99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900" b="1">
                <a:solidFill>
                  <a:schemeClr val="tx1"/>
                </a:solidFill>
                <a:latin typeface="맑은 고딕" panose="020B0503020000020004" pitchFamily="50" charset="-127"/>
                <a:cs typeface="Segoe UI" panose="020B0502040204020203" pitchFamily="34" charset="0"/>
              </a:rPr>
              <a:t>다음페이지 계속</a:t>
            </a:r>
          </a:p>
        </p:txBody>
      </p:sp>
      <p:sp>
        <p:nvSpPr>
          <p:cNvPr id="24" name="직사각형 23"/>
          <p:cNvSpPr/>
          <p:nvPr userDrawn="1"/>
        </p:nvSpPr>
        <p:spPr>
          <a:xfrm>
            <a:off x="200024" y="774378"/>
            <a:ext cx="7623176" cy="17998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altLang="ko-KR" sz="900" b="1">
                <a:solidFill>
                  <a:schemeClr val="tx1"/>
                </a:solidFill>
                <a:latin typeface="맑은 고딕" panose="020B0503020000020004" pitchFamily="50" charset="-127"/>
                <a:cs typeface="Segoe UI" panose="020B0502040204020203" pitchFamily="34" charset="0"/>
              </a:rPr>
              <a:t>Header/GNB</a:t>
            </a:r>
            <a:endParaRPr lang="ko-KR" altLang="en-US" sz="900" b="1">
              <a:solidFill>
                <a:schemeClr val="tx1"/>
              </a:solidFill>
              <a:latin typeface="맑은 고딕" panose="020B0503020000020004" pitchFamily="50" charset="-127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14584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703" r:id="rId3"/>
    <p:sldLayoutId id="2147483704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05" r:id="rId11"/>
    <p:sldLayoutId id="2147483712" r:id="rId12"/>
    <p:sldLayoutId id="2147483713" r:id="rId13"/>
  </p:sldLayoutIdLst>
  <p:hf hdr="0" ftr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k object 20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bk object 21"/>
          <p:cNvSpPr/>
          <p:nvPr/>
        </p:nvSpPr>
        <p:spPr>
          <a:xfrm>
            <a:off x="0" y="5517232"/>
            <a:ext cx="9906000" cy="134076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932455" y="747285"/>
            <a:ext cx="8487996" cy="1143000"/>
          </a:xfrm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 eaLnBrk="1" hangingPunct="1">
              <a:lnSpc>
                <a:spcPct val="85000"/>
              </a:lnSpc>
              <a:defRPr/>
            </a:pPr>
            <a:r>
              <a:rPr lang="ko-KR" altLang="en-US" dirty="0">
                <a:solidFill>
                  <a:srgbClr val="595959"/>
                </a:solidFill>
              </a:rPr>
              <a:t>온라인 논문투고심사 시스템</a:t>
            </a:r>
            <a:r>
              <a:rPr lang="en-US" altLang="ko-KR" dirty="0">
                <a:solidFill>
                  <a:srgbClr val="595959"/>
                </a:solidFill>
              </a:rPr>
              <a:t>_</a:t>
            </a:r>
            <a:r>
              <a:rPr lang="en-US" altLang="ko-KR" sz="4800" dirty="0" err="1">
                <a:solidFill>
                  <a:srgbClr val="C00000"/>
                </a:solidFill>
              </a:rPr>
              <a:t>DBpia</a:t>
            </a:r>
            <a:r>
              <a:rPr lang="en-US" altLang="ko-KR" sz="4800" dirty="0">
                <a:solidFill>
                  <a:srgbClr val="C00000"/>
                </a:solidFill>
              </a:rPr>
              <a:t> ONE</a:t>
            </a:r>
            <a:endParaRPr sz="4800" dirty="0">
              <a:solidFill>
                <a:srgbClr val="C00000"/>
              </a:solidFill>
            </a:endParaRPr>
          </a:p>
        </p:txBody>
      </p: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6874423" y="2647944"/>
            <a:ext cx="3112691" cy="2954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 sz="1600">
                <a:solidFill>
                  <a:srgbClr val="59595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 marL="742950" indent="-285750">
              <a:defRPr sz="1600">
                <a:solidFill>
                  <a:srgbClr val="59595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2pPr>
            <a:lvl3pPr marL="1143000" indent="-228600">
              <a:defRPr sz="1600">
                <a:solidFill>
                  <a:srgbClr val="59595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3pPr>
            <a:lvl4pPr marL="1600200" indent="-228600">
              <a:defRPr sz="1600">
                <a:solidFill>
                  <a:srgbClr val="59595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4pPr>
            <a:lvl5pPr marL="2057400" indent="-228600">
              <a:defRPr sz="1600">
                <a:solidFill>
                  <a:srgbClr val="59595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59595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59595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59595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59595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9pPr>
          </a:lstStyle>
          <a:p>
            <a:pPr eaLnBrk="1" latinLnBrk="1" hangingPunct="1">
              <a:lnSpc>
                <a:spcPct val="150000"/>
              </a:lnSpc>
            </a:pPr>
            <a:r>
              <a:rPr lang="ko-KR" altLang="en-US" b="1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차</a:t>
            </a:r>
            <a:endParaRPr lang="en-US" altLang="ko-KR" sz="1200" dirty="0">
              <a:solidFill>
                <a:srgbClr val="40404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 eaLnBrk="1" latinLnBrk="1" hangingPunct="1">
              <a:lnSpc>
                <a:spcPct val="150000"/>
              </a:lnSpc>
              <a:buAutoNum type="arabicPeriod"/>
            </a:pPr>
            <a:r>
              <a:rPr lang="ko-KR" altLang="en-US" sz="120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메인 화면 </a:t>
            </a:r>
            <a:endParaRPr lang="en-US" altLang="ko-KR" sz="1200" dirty="0">
              <a:solidFill>
                <a:srgbClr val="40404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 eaLnBrk="1" latinLnBrk="1" hangingPunct="1">
              <a:lnSpc>
                <a:spcPct val="150000"/>
              </a:lnSpc>
              <a:buAutoNum type="arabicPeriod"/>
            </a:pPr>
            <a:r>
              <a:rPr lang="ko-KR" altLang="en-US" sz="120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그인 화면 </a:t>
            </a:r>
            <a:endParaRPr lang="en-US" altLang="ko-KR" sz="1200" dirty="0">
              <a:solidFill>
                <a:srgbClr val="40404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 eaLnBrk="1" latinLnBrk="1" hangingPunct="1">
              <a:lnSpc>
                <a:spcPct val="150000"/>
              </a:lnSpc>
              <a:buAutoNum type="arabicPeriod"/>
            </a:pPr>
            <a:r>
              <a:rPr lang="ko-KR" altLang="en-US" sz="120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학술지 선택 </a:t>
            </a:r>
            <a:endParaRPr lang="en-US" altLang="ko-KR" sz="1200" dirty="0">
              <a:solidFill>
                <a:srgbClr val="40404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 eaLnBrk="1" latinLnBrk="1" hangingPunct="1">
              <a:lnSpc>
                <a:spcPct val="150000"/>
              </a:lnSpc>
              <a:buAutoNum type="arabicPeriod"/>
            </a:pPr>
            <a:r>
              <a:rPr lang="ko-KR" altLang="en-US" sz="1200" dirty="0" err="1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시보드</a:t>
            </a:r>
            <a:endParaRPr lang="en-US" altLang="ko-KR" sz="1200" dirty="0">
              <a:solidFill>
                <a:srgbClr val="40404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 eaLnBrk="1" latinLnBrk="1" hangingPunct="1">
              <a:lnSpc>
                <a:spcPct val="150000"/>
              </a:lnSpc>
              <a:buAutoNum type="arabicPeriod"/>
            </a:pPr>
            <a:r>
              <a:rPr lang="ko-KR" altLang="en-US" sz="120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규논문 투고</a:t>
            </a:r>
            <a:endParaRPr lang="en-US" altLang="ko-KR" sz="1200" dirty="0">
              <a:solidFill>
                <a:srgbClr val="40404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 eaLnBrk="1" latinLnBrk="1" hangingPunct="1">
              <a:lnSpc>
                <a:spcPct val="150000"/>
              </a:lnSpc>
              <a:buAutoNum type="arabicPeriod"/>
            </a:pPr>
            <a:r>
              <a:rPr lang="ko-KR" altLang="en-US" sz="120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논문투고 현황 확인</a:t>
            </a:r>
            <a:endParaRPr lang="en-US" altLang="ko-KR" sz="1200" dirty="0">
              <a:solidFill>
                <a:srgbClr val="40404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 eaLnBrk="1" latinLnBrk="1" hangingPunct="1">
              <a:lnSpc>
                <a:spcPct val="150000"/>
              </a:lnSpc>
              <a:buAutoNum type="arabicPeriod"/>
            </a:pPr>
            <a:r>
              <a:rPr lang="ko-KR" altLang="en-US" sz="120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투고논문 심사 현황 확인</a:t>
            </a:r>
            <a:endParaRPr lang="en-US" altLang="ko-KR" sz="1200" dirty="0">
              <a:solidFill>
                <a:srgbClr val="40404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 eaLnBrk="1" latinLnBrk="1" hangingPunct="1">
              <a:lnSpc>
                <a:spcPct val="150000"/>
              </a:lnSpc>
              <a:buAutoNum type="arabicPeriod"/>
            </a:pPr>
            <a:r>
              <a:rPr lang="ko-KR" altLang="en-US" sz="120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정논문 제출</a:t>
            </a:r>
            <a:endParaRPr lang="en-US" altLang="ko-KR" sz="1200" dirty="0">
              <a:solidFill>
                <a:srgbClr val="40404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 eaLnBrk="1" latinLnBrk="1" hangingPunct="1">
              <a:lnSpc>
                <a:spcPct val="150000"/>
              </a:lnSpc>
              <a:buAutoNum type="arabicPeriod"/>
            </a:pPr>
            <a:r>
              <a:rPr lang="ko-KR" altLang="en-US" sz="120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종논문 제출</a:t>
            </a:r>
            <a:endParaRPr lang="en-US" altLang="ko-KR" sz="1200" dirty="0">
              <a:solidFill>
                <a:srgbClr val="40404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bk object 22"/>
          <p:cNvSpPr/>
          <p:nvPr/>
        </p:nvSpPr>
        <p:spPr>
          <a:xfrm>
            <a:off x="-40323" y="2273807"/>
            <a:ext cx="2956560" cy="458114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bk object 23"/>
          <p:cNvSpPr/>
          <p:nvPr/>
        </p:nvSpPr>
        <p:spPr>
          <a:xfrm>
            <a:off x="0" y="2340076"/>
            <a:ext cx="2916237" cy="451709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그룹 2"/>
          <p:cNvGrpSpPr/>
          <p:nvPr/>
        </p:nvGrpSpPr>
        <p:grpSpPr>
          <a:xfrm>
            <a:off x="1474122" y="1878896"/>
            <a:ext cx="5684520" cy="4492752"/>
            <a:chOff x="1557848" y="1040896"/>
            <a:chExt cx="5684520" cy="4492752"/>
          </a:xfrm>
        </p:grpSpPr>
        <p:sp>
          <p:nvSpPr>
            <p:cNvPr id="11" name="bk object 24"/>
            <p:cNvSpPr/>
            <p:nvPr/>
          </p:nvSpPr>
          <p:spPr>
            <a:xfrm>
              <a:off x="1557848" y="1040896"/>
              <a:ext cx="5684520" cy="4492752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bk object 25"/>
            <p:cNvSpPr/>
            <p:nvPr/>
          </p:nvSpPr>
          <p:spPr>
            <a:xfrm>
              <a:off x="1578252" y="1088235"/>
              <a:ext cx="5606996" cy="4428997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5"/>
          <p:cNvSpPr/>
          <p:nvPr/>
        </p:nvSpPr>
        <p:spPr>
          <a:xfrm>
            <a:off x="438150" y="239712"/>
            <a:ext cx="1193800" cy="24277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6"/>
          <p:cNvSpPr/>
          <p:nvPr/>
        </p:nvSpPr>
        <p:spPr>
          <a:xfrm>
            <a:off x="1750771" y="313093"/>
            <a:ext cx="588645" cy="193675"/>
          </a:xfrm>
          <a:custGeom>
            <a:avLst/>
            <a:gdLst/>
            <a:ahLst/>
            <a:cxnLst/>
            <a:rect l="l" t="t" r="r" b="b"/>
            <a:pathLst>
              <a:path w="588644" h="193675">
                <a:moveTo>
                  <a:pt x="158356" y="7327"/>
                </a:moveTo>
                <a:lnTo>
                  <a:pt x="92443" y="7327"/>
                </a:lnTo>
                <a:lnTo>
                  <a:pt x="92443" y="70967"/>
                </a:lnTo>
                <a:lnTo>
                  <a:pt x="160134" y="70967"/>
                </a:lnTo>
                <a:lnTo>
                  <a:pt x="160134" y="50482"/>
                </a:lnTo>
                <a:lnTo>
                  <a:pt x="117182" y="50482"/>
                </a:lnTo>
                <a:lnTo>
                  <a:pt x="117182" y="28016"/>
                </a:lnTo>
                <a:lnTo>
                  <a:pt x="158356" y="28016"/>
                </a:lnTo>
                <a:lnTo>
                  <a:pt x="158356" y="7327"/>
                </a:lnTo>
                <a:close/>
              </a:path>
              <a:path w="588644" h="193675">
                <a:moveTo>
                  <a:pt x="80860" y="7327"/>
                </a:moveTo>
                <a:lnTo>
                  <a:pt x="20091" y="7327"/>
                </a:lnTo>
                <a:lnTo>
                  <a:pt x="20091" y="70967"/>
                </a:lnTo>
                <a:lnTo>
                  <a:pt x="86804" y="70967"/>
                </a:lnTo>
                <a:lnTo>
                  <a:pt x="86804" y="50482"/>
                </a:lnTo>
                <a:lnTo>
                  <a:pt x="44843" y="50482"/>
                </a:lnTo>
                <a:lnTo>
                  <a:pt x="44843" y="28016"/>
                </a:lnTo>
                <a:lnTo>
                  <a:pt x="80860" y="28016"/>
                </a:lnTo>
                <a:lnTo>
                  <a:pt x="80860" y="7327"/>
                </a:lnTo>
                <a:close/>
              </a:path>
              <a:path w="588644" h="193675">
                <a:moveTo>
                  <a:pt x="177164" y="93433"/>
                </a:moveTo>
                <a:lnTo>
                  <a:pt x="0" y="93433"/>
                </a:lnTo>
                <a:lnTo>
                  <a:pt x="0" y="114312"/>
                </a:lnTo>
                <a:lnTo>
                  <a:pt x="177164" y="114312"/>
                </a:lnTo>
                <a:lnTo>
                  <a:pt x="177164" y="93433"/>
                </a:lnTo>
                <a:close/>
              </a:path>
              <a:path w="588644" h="193675">
                <a:moveTo>
                  <a:pt x="100952" y="74828"/>
                </a:moveTo>
                <a:lnTo>
                  <a:pt x="76009" y="74828"/>
                </a:lnTo>
                <a:lnTo>
                  <a:pt x="76009" y="93433"/>
                </a:lnTo>
                <a:lnTo>
                  <a:pt x="100952" y="93433"/>
                </a:lnTo>
                <a:lnTo>
                  <a:pt x="100952" y="74828"/>
                </a:lnTo>
                <a:close/>
              </a:path>
              <a:path w="588644" h="193675">
                <a:moveTo>
                  <a:pt x="151625" y="129158"/>
                </a:moveTo>
                <a:lnTo>
                  <a:pt x="21678" y="129158"/>
                </a:lnTo>
                <a:lnTo>
                  <a:pt x="21678" y="150050"/>
                </a:lnTo>
                <a:lnTo>
                  <a:pt x="126682" y="150050"/>
                </a:lnTo>
                <a:lnTo>
                  <a:pt x="126682" y="193586"/>
                </a:lnTo>
                <a:lnTo>
                  <a:pt x="151625" y="193586"/>
                </a:lnTo>
                <a:lnTo>
                  <a:pt x="151625" y="129158"/>
                </a:lnTo>
                <a:close/>
              </a:path>
              <a:path w="588644" h="193675">
                <a:moveTo>
                  <a:pt x="361048" y="7327"/>
                </a:moveTo>
                <a:lnTo>
                  <a:pt x="295135" y="7327"/>
                </a:lnTo>
                <a:lnTo>
                  <a:pt x="295135" y="70967"/>
                </a:lnTo>
                <a:lnTo>
                  <a:pt x="362826" y="70967"/>
                </a:lnTo>
                <a:lnTo>
                  <a:pt x="362826" y="50482"/>
                </a:lnTo>
                <a:lnTo>
                  <a:pt x="319874" y="50482"/>
                </a:lnTo>
                <a:lnTo>
                  <a:pt x="319874" y="28016"/>
                </a:lnTo>
                <a:lnTo>
                  <a:pt x="361048" y="28016"/>
                </a:lnTo>
                <a:lnTo>
                  <a:pt x="361048" y="7327"/>
                </a:lnTo>
                <a:close/>
              </a:path>
              <a:path w="588644" h="193675">
                <a:moveTo>
                  <a:pt x="283552" y="7327"/>
                </a:moveTo>
                <a:lnTo>
                  <a:pt x="222783" y="7327"/>
                </a:lnTo>
                <a:lnTo>
                  <a:pt x="222783" y="70967"/>
                </a:lnTo>
                <a:lnTo>
                  <a:pt x="289496" y="70967"/>
                </a:lnTo>
                <a:lnTo>
                  <a:pt x="289496" y="50482"/>
                </a:lnTo>
                <a:lnTo>
                  <a:pt x="247535" y="50482"/>
                </a:lnTo>
                <a:lnTo>
                  <a:pt x="247535" y="28016"/>
                </a:lnTo>
                <a:lnTo>
                  <a:pt x="283552" y="28016"/>
                </a:lnTo>
                <a:lnTo>
                  <a:pt x="283552" y="7327"/>
                </a:lnTo>
                <a:close/>
              </a:path>
              <a:path w="588644" h="193675">
                <a:moveTo>
                  <a:pt x="379856" y="93433"/>
                </a:moveTo>
                <a:lnTo>
                  <a:pt x="202691" y="93433"/>
                </a:lnTo>
                <a:lnTo>
                  <a:pt x="202691" y="114312"/>
                </a:lnTo>
                <a:lnTo>
                  <a:pt x="379856" y="114312"/>
                </a:lnTo>
                <a:lnTo>
                  <a:pt x="379856" y="93433"/>
                </a:lnTo>
                <a:close/>
              </a:path>
              <a:path w="588644" h="193675">
                <a:moveTo>
                  <a:pt x="303644" y="74828"/>
                </a:moveTo>
                <a:lnTo>
                  <a:pt x="278701" y="74828"/>
                </a:lnTo>
                <a:lnTo>
                  <a:pt x="278701" y="93433"/>
                </a:lnTo>
                <a:lnTo>
                  <a:pt x="303644" y="93433"/>
                </a:lnTo>
                <a:lnTo>
                  <a:pt x="303644" y="74828"/>
                </a:lnTo>
                <a:close/>
              </a:path>
              <a:path w="588644" h="193675">
                <a:moveTo>
                  <a:pt x="354317" y="129158"/>
                </a:moveTo>
                <a:lnTo>
                  <a:pt x="224370" y="129158"/>
                </a:lnTo>
                <a:lnTo>
                  <a:pt x="224370" y="150050"/>
                </a:lnTo>
                <a:lnTo>
                  <a:pt x="329374" y="150050"/>
                </a:lnTo>
                <a:lnTo>
                  <a:pt x="329374" y="193586"/>
                </a:lnTo>
                <a:lnTo>
                  <a:pt x="354317" y="193586"/>
                </a:lnTo>
                <a:lnTo>
                  <a:pt x="354317" y="129158"/>
                </a:lnTo>
                <a:close/>
              </a:path>
              <a:path w="588644" h="193675">
                <a:moveTo>
                  <a:pt x="523760" y="21475"/>
                </a:moveTo>
                <a:lnTo>
                  <a:pt x="406768" y="21475"/>
                </a:lnTo>
                <a:lnTo>
                  <a:pt x="406768" y="41376"/>
                </a:lnTo>
                <a:lnTo>
                  <a:pt x="523760" y="41376"/>
                </a:lnTo>
                <a:lnTo>
                  <a:pt x="523760" y="21475"/>
                </a:lnTo>
                <a:close/>
              </a:path>
              <a:path w="588644" h="193675">
                <a:moveTo>
                  <a:pt x="477735" y="0"/>
                </a:moveTo>
                <a:lnTo>
                  <a:pt x="452793" y="0"/>
                </a:lnTo>
                <a:lnTo>
                  <a:pt x="452793" y="21475"/>
                </a:lnTo>
                <a:lnTo>
                  <a:pt x="477735" y="21475"/>
                </a:lnTo>
                <a:lnTo>
                  <a:pt x="477735" y="0"/>
                </a:lnTo>
                <a:close/>
              </a:path>
              <a:path w="588644" h="193675">
                <a:moveTo>
                  <a:pt x="461302" y="131140"/>
                </a:moveTo>
                <a:lnTo>
                  <a:pt x="436372" y="131140"/>
                </a:lnTo>
                <a:lnTo>
                  <a:pt x="436372" y="187553"/>
                </a:lnTo>
                <a:lnTo>
                  <a:pt x="564337" y="187553"/>
                </a:lnTo>
                <a:lnTo>
                  <a:pt x="564337" y="166674"/>
                </a:lnTo>
                <a:lnTo>
                  <a:pt x="461302" y="166674"/>
                </a:lnTo>
                <a:lnTo>
                  <a:pt x="461302" y="131140"/>
                </a:lnTo>
                <a:close/>
              </a:path>
              <a:path w="588644" h="193675">
                <a:moveTo>
                  <a:pt x="558990" y="2679"/>
                </a:moveTo>
                <a:lnTo>
                  <a:pt x="534352" y="2679"/>
                </a:lnTo>
                <a:lnTo>
                  <a:pt x="534352" y="141338"/>
                </a:lnTo>
                <a:lnTo>
                  <a:pt x="558990" y="141338"/>
                </a:lnTo>
                <a:lnTo>
                  <a:pt x="558990" y="86410"/>
                </a:lnTo>
                <a:lnTo>
                  <a:pt x="588187" y="86410"/>
                </a:lnTo>
                <a:lnTo>
                  <a:pt x="588187" y="65519"/>
                </a:lnTo>
                <a:lnTo>
                  <a:pt x="558990" y="65519"/>
                </a:lnTo>
                <a:lnTo>
                  <a:pt x="558990" y="2679"/>
                </a:lnTo>
                <a:close/>
              </a:path>
              <a:path w="588644" h="193675">
                <a:moveTo>
                  <a:pt x="465759" y="50088"/>
                </a:moveTo>
                <a:lnTo>
                  <a:pt x="423913" y="65785"/>
                </a:lnTo>
                <a:lnTo>
                  <a:pt x="416369" y="86207"/>
                </a:lnTo>
                <a:lnTo>
                  <a:pt x="417214" y="93772"/>
                </a:lnTo>
                <a:lnTo>
                  <a:pt x="445558" y="119883"/>
                </a:lnTo>
                <a:lnTo>
                  <a:pt x="465569" y="122427"/>
                </a:lnTo>
                <a:lnTo>
                  <a:pt x="476325" y="121787"/>
                </a:lnTo>
                <a:lnTo>
                  <a:pt x="510721" y="102247"/>
                </a:lnTo>
                <a:lnTo>
                  <a:pt x="457771" y="102247"/>
                </a:lnTo>
                <a:lnTo>
                  <a:pt x="451700" y="100787"/>
                </a:lnTo>
                <a:lnTo>
                  <a:pt x="443395" y="94983"/>
                </a:lnTo>
                <a:lnTo>
                  <a:pt x="441346" y="91160"/>
                </a:lnTo>
                <a:lnTo>
                  <a:pt x="441347" y="81330"/>
                </a:lnTo>
                <a:lnTo>
                  <a:pt x="443445" y="77584"/>
                </a:lnTo>
                <a:lnTo>
                  <a:pt x="451954" y="71970"/>
                </a:lnTo>
                <a:lnTo>
                  <a:pt x="457974" y="70573"/>
                </a:lnTo>
                <a:lnTo>
                  <a:pt x="511004" y="70573"/>
                </a:lnTo>
                <a:lnTo>
                  <a:pt x="507675" y="65717"/>
                </a:lnTo>
                <a:lnTo>
                  <a:pt x="501789" y="60274"/>
                </a:lnTo>
                <a:lnTo>
                  <a:pt x="494488" y="55816"/>
                </a:lnTo>
                <a:lnTo>
                  <a:pt x="486051" y="52633"/>
                </a:lnTo>
                <a:lnTo>
                  <a:pt x="476475" y="50724"/>
                </a:lnTo>
                <a:lnTo>
                  <a:pt x="465759" y="50088"/>
                </a:lnTo>
                <a:close/>
              </a:path>
              <a:path w="588644" h="193675">
                <a:moveTo>
                  <a:pt x="511004" y="70573"/>
                </a:moveTo>
                <a:lnTo>
                  <a:pt x="473684" y="70573"/>
                </a:lnTo>
                <a:lnTo>
                  <a:pt x="479800" y="71970"/>
                </a:lnTo>
                <a:lnTo>
                  <a:pt x="488353" y="77495"/>
                </a:lnTo>
                <a:lnTo>
                  <a:pt x="490499" y="81330"/>
                </a:lnTo>
                <a:lnTo>
                  <a:pt x="490499" y="91160"/>
                </a:lnTo>
                <a:lnTo>
                  <a:pt x="488403" y="95072"/>
                </a:lnTo>
                <a:lnTo>
                  <a:pt x="480034" y="100812"/>
                </a:lnTo>
                <a:lnTo>
                  <a:pt x="473875" y="102247"/>
                </a:lnTo>
                <a:lnTo>
                  <a:pt x="510721" y="102247"/>
                </a:lnTo>
                <a:lnTo>
                  <a:pt x="511871" y="100571"/>
                </a:lnTo>
                <a:lnTo>
                  <a:pt x="514406" y="93732"/>
                </a:lnTo>
                <a:lnTo>
                  <a:pt x="515251" y="86207"/>
                </a:lnTo>
                <a:lnTo>
                  <a:pt x="514409" y="78685"/>
                </a:lnTo>
                <a:lnTo>
                  <a:pt x="511883" y="71855"/>
                </a:lnTo>
                <a:lnTo>
                  <a:pt x="511004" y="70573"/>
                </a:lnTo>
                <a:close/>
              </a:path>
            </a:pathLst>
          </a:custGeom>
          <a:solidFill>
            <a:srgbClr val="000000">
              <a:alpha val="6784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7"/>
          <p:cNvSpPr/>
          <p:nvPr/>
        </p:nvSpPr>
        <p:spPr>
          <a:xfrm>
            <a:off x="2416632" y="313093"/>
            <a:ext cx="784225" cy="193675"/>
          </a:xfrm>
          <a:custGeom>
            <a:avLst/>
            <a:gdLst/>
            <a:ahLst/>
            <a:cxnLst/>
            <a:rect l="l" t="t" r="r" b="b"/>
            <a:pathLst>
              <a:path w="784225" h="193675">
                <a:moveTo>
                  <a:pt x="116979" y="19507"/>
                </a:moveTo>
                <a:lnTo>
                  <a:pt x="0" y="19507"/>
                </a:lnTo>
                <a:lnTo>
                  <a:pt x="0" y="39395"/>
                </a:lnTo>
                <a:lnTo>
                  <a:pt x="116979" y="39395"/>
                </a:lnTo>
                <a:lnTo>
                  <a:pt x="116979" y="19507"/>
                </a:lnTo>
                <a:close/>
              </a:path>
              <a:path w="784225" h="193675">
                <a:moveTo>
                  <a:pt x="70967" y="0"/>
                </a:moveTo>
                <a:lnTo>
                  <a:pt x="46024" y="0"/>
                </a:lnTo>
                <a:lnTo>
                  <a:pt x="46024" y="19507"/>
                </a:lnTo>
                <a:lnTo>
                  <a:pt x="70967" y="19507"/>
                </a:lnTo>
                <a:lnTo>
                  <a:pt x="70967" y="0"/>
                </a:lnTo>
                <a:close/>
              </a:path>
              <a:path w="784225" h="193675">
                <a:moveTo>
                  <a:pt x="152717" y="2679"/>
                </a:moveTo>
                <a:lnTo>
                  <a:pt x="127774" y="2679"/>
                </a:lnTo>
                <a:lnTo>
                  <a:pt x="127774" y="117576"/>
                </a:lnTo>
                <a:lnTo>
                  <a:pt x="152717" y="117576"/>
                </a:lnTo>
                <a:lnTo>
                  <a:pt x="152717" y="78295"/>
                </a:lnTo>
                <a:lnTo>
                  <a:pt x="181610" y="78295"/>
                </a:lnTo>
                <a:lnTo>
                  <a:pt x="181610" y="57403"/>
                </a:lnTo>
                <a:lnTo>
                  <a:pt x="152717" y="57403"/>
                </a:lnTo>
                <a:lnTo>
                  <a:pt x="152717" y="2679"/>
                </a:lnTo>
                <a:close/>
              </a:path>
              <a:path w="784225" h="193675">
                <a:moveTo>
                  <a:pt x="58991" y="46227"/>
                </a:moveTo>
                <a:lnTo>
                  <a:pt x="16751" y="60982"/>
                </a:lnTo>
                <a:lnTo>
                  <a:pt x="9207" y="80670"/>
                </a:lnTo>
                <a:lnTo>
                  <a:pt x="9948" y="87163"/>
                </a:lnTo>
                <a:lnTo>
                  <a:pt x="38301" y="112802"/>
                </a:lnTo>
                <a:lnTo>
                  <a:pt x="58788" y="115201"/>
                </a:lnTo>
                <a:lnTo>
                  <a:pt x="69676" y="114601"/>
                </a:lnTo>
                <a:lnTo>
                  <a:pt x="104870" y="95516"/>
                </a:lnTo>
                <a:lnTo>
                  <a:pt x="58991" y="95516"/>
                </a:lnTo>
                <a:lnTo>
                  <a:pt x="48039" y="94575"/>
                </a:lnTo>
                <a:lnTo>
                  <a:pt x="40281" y="91803"/>
                </a:lnTo>
                <a:lnTo>
                  <a:pt x="35606" y="87163"/>
                </a:lnTo>
                <a:lnTo>
                  <a:pt x="34048" y="80670"/>
                </a:lnTo>
                <a:lnTo>
                  <a:pt x="34048" y="76314"/>
                </a:lnTo>
                <a:lnTo>
                  <a:pt x="36106" y="72796"/>
                </a:lnTo>
                <a:lnTo>
                  <a:pt x="44361" y="67449"/>
                </a:lnTo>
                <a:lnTo>
                  <a:pt x="50609" y="66116"/>
                </a:lnTo>
                <a:lnTo>
                  <a:pt x="104993" y="66116"/>
                </a:lnTo>
                <a:lnTo>
                  <a:pt x="101320" y="60982"/>
                </a:lnTo>
                <a:lnTo>
                  <a:pt x="95453" y="55829"/>
                </a:lnTo>
                <a:lnTo>
                  <a:pt x="88145" y="51628"/>
                </a:lnTo>
                <a:lnTo>
                  <a:pt x="79632" y="48628"/>
                </a:lnTo>
                <a:lnTo>
                  <a:pt x="69914" y="46828"/>
                </a:lnTo>
                <a:lnTo>
                  <a:pt x="58991" y="46227"/>
                </a:lnTo>
                <a:close/>
              </a:path>
              <a:path w="784225" h="193675">
                <a:moveTo>
                  <a:pt x="104993" y="66116"/>
                </a:moveTo>
                <a:lnTo>
                  <a:pt x="58991" y="66116"/>
                </a:lnTo>
                <a:lnTo>
                  <a:pt x="69985" y="67025"/>
                </a:lnTo>
                <a:lnTo>
                  <a:pt x="77839" y="69754"/>
                </a:lnTo>
                <a:lnTo>
                  <a:pt x="82553" y="74302"/>
                </a:lnTo>
                <a:lnTo>
                  <a:pt x="84124" y="80670"/>
                </a:lnTo>
                <a:lnTo>
                  <a:pt x="82553" y="87163"/>
                </a:lnTo>
                <a:lnTo>
                  <a:pt x="77839" y="91803"/>
                </a:lnTo>
                <a:lnTo>
                  <a:pt x="69985" y="94588"/>
                </a:lnTo>
                <a:lnTo>
                  <a:pt x="58991" y="95516"/>
                </a:lnTo>
                <a:lnTo>
                  <a:pt x="104870" y="95516"/>
                </a:lnTo>
                <a:lnTo>
                  <a:pt x="105463" y="94695"/>
                </a:lnTo>
                <a:lnTo>
                  <a:pt x="108014" y="88058"/>
                </a:lnTo>
                <a:lnTo>
                  <a:pt x="108864" y="80670"/>
                </a:lnTo>
                <a:lnTo>
                  <a:pt x="108026" y="73402"/>
                </a:lnTo>
                <a:lnTo>
                  <a:pt x="105511" y="66840"/>
                </a:lnTo>
                <a:lnTo>
                  <a:pt x="104993" y="66116"/>
                </a:lnTo>
                <a:close/>
              </a:path>
              <a:path w="784225" h="193675">
                <a:moveTo>
                  <a:pt x="152717" y="125704"/>
                </a:moveTo>
                <a:lnTo>
                  <a:pt x="25336" y="125704"/>
                </a:lnTo>
                <a:lnTo>
                  <a:pt x="25336" y="146583"/>
                </a:lnTo>
                <a:lnTo>
                  <a:pt x="127965" y="146583"/>
                </a:lnTo>
                <a:lnTo>
                  <a:pt x="127965" y="193586"/>
                </a:lnTo>
                <a:lnTo>
                  <a:pt x="152717" y="193586"/>
                </a:lnTo>
                <a:lnTo>
                  <a:pt x="152717" y="125704"/>
                </a:lnTo>
                <a:close/>
              </a:path>
              <a:path w="784225" h="193675">
                <a:moveTo>
                  <a:pt x="323189" y="35928"/>
                </a:moveTo>
                <a:lnTo>
                  <a:pt x="289890" y="35928"/>
                </a:lnTo>
                <a:lnTo>
                  <a:pt x="303153" y="47181"/>
                </a:lnTo>
                <a:lnTo>
                  <a:pt x="319204" y="56195"/>
                </a:lnTo>
                <a:lnTo>
                  <a:pt x="338042" y="62969"/>
                </a:lnTo>
                <a:lnTo>
                  <a:pt x="359664" y="67500"/>
                </a:lnTo>
                <a:lnTo>
                  <a:pt x="371335" y="49098"/>
                </a:lnTo>
                <a:lnTo>
                  <a:pt x="356988" y="47336"/>
                </a:lnTo>
                <a:lnTo>
                  <a:pt x="343933" y="44430"/>
                </a:lnTo>
                <a:lnTo>
                  <a:pt x="332171" y="40382"/>
                </a:lnTo>
                <a:lnTo>
                  <a:pt x="323189" y="35928"/>
                </a:lnTo>
                <a:close/>
              </a:path>
              <a:path w="784225" h="193675">
                <a:moveTo>
                  <a:pt x="302056" y="3860"/>
                </a:moveTo>
                <a:lnTo>
                  <a:pt x="277507" y="3860"/>
                </a:lnTo>
                <a:lnTo>
                  <a:pt x="277507" y="11785"/>
                </a:lnTo>
                <a:lnTo>
                  <a:pt x="276315" y="17700"/>
                </a:lnTo>
                <a:lnTo>
                  <a:pt x="236393" y="44195"/>
                </a:lnTo>
                <a:lnTo>
                  <a:pt x="208038" y="48894"/>
                </a:lnTo>
                <a:lnTo>
                  <a:pt x="221195" y="67309"/>
                </a:lnTo>
                <a:lnTo>
                  <a:pt x="243084" y="62526"/>
                </a:lnTo>
                <a:lnTo>
                  <a:pt x="261829" y="55700"/>
                </a:lnTo>
                <a:lnTo>
                  <a:pt x="277431" y="46834"/>
                </a:lnTo>
                <a:lnTo>
                  <a:pt x="289890" y="35928"/>
                </a:lnTo>
                <a:lnTo>
                  <a:pt x="323189" y="35928"/>
                </a:lnTo>
                <a:lnTo>
                  <a:pt x="302056" y="11785"/>
                </a:lnTo>
                <a:lnTo>
                  <a:pt x="302056" y="3860"/>
                </a:lnTo>
                <a:close/>
              </a:path>
              <a:path w="784225" h="193675">
                <a:moveTo>
                  <a:pt x="352336" y="111340"/>
                </a:moveTo>
                <a:lnTo>
                  <a:pt x="227241" y="111340"/>
                </a:lnTo>
                <a:lnTo>
                  <a:pt x="227241" y="131635"/>
                </a:lnTo>
                <a:lnTo>
                  <a:pt x="327596" y="131635"/>
                </a:lnTo>
                <a:lnTo>
                  <a:pt x="327596" y="141528"/>
                </a:lnTo>
                <a:lnTo>
                  <a:pt x="227241" y="141528"/>
                </a:lnTo>
                <a:lnTo>
                  <a:pt x="227241" y="190322"/>
                </a:lnTo>
                <a:lnTo>
                  <a:pt x="356984" y="190322"/>
                </a:lnTo>
                <a:lnTo>
                  <a:pt x="356984" y="170141"/>
                </a:lnTo>
                <a:lnTo>
                  <a:pt x="251980" y="170141"/>
                </a:lnTo>
                <a:lnTo>
                  <a:pt x="251980" y="160134"/>
                </a:lnTo>
                <a:lnTo>
                  <a:pt x="352336" y="160134"/>
                </a:lnTo>
                <a:lnTo>
                  <a:pt x="352336" y="111340"/>
                </a:lnTo>
                <a:close/>
              </a:path>
              <a:path w="784225" h="193675">
                <a:moveTo>
                  <a:pt x="302260" y="99174"/>
                </a:moveTo>
                <a:lnTo>
                  <a:pt x="277317" y="99174"/>
                </a:lnTo>
                <a:lnTo>
                  <a:pt x="277317" y="111340"/>
                </a:lnTo>
                <a:lnTo>
                  <a:pt x="302260" y="111340"/>
                </a:lnTo>
                <a:lnTo>
                  <a:pt x="302260" y="99174"/>
                </a:lnTo>
                <a:close/>
              </a:path>
              <a:path w="784225" h="193675">
                <a:moveTo>
                  <a:pt x="378460" y="78879"/>
                </a:moveTo>
                <a:lnTo>
                  <a:pt x="201307" y="78879"/>
                </a:lnTo>
                <a:lnTo>
                  <a:pt x="201307" y="99174"/>
                </a:lnTo>
                <a:lnTo>
                  <a:pt x="378460" y="99174"/>
                </a:lnTo>
                <a:lnTo>
                  <a:pt x="378460" y="78879"/>
                </a:lnTo>
                <a:close/>
              </a:path>
              <a:path w="784225" h="193675">
                <a:moveTo>
                  <a:pt x="581152" y="96697"/>
                </a:moveTo>
                <a:lnTo>
                  <a:pt x="403999" y="96697"/>
                </a:lnTo>
                <a:lnTo>
                  <a:pt x="403999" y="117576"/>
                </a:lnTo>
                <a:lnTo>
                  <a:pt x="581152" y="117576"/>
                </a:lnTo>
                <a:lnTo>
                  <a:pt x="581152" y="96697"/>
                </a:lnTo>
                <a:close/>
              </a:path>
              <a:path w="784225" h="193675">
                <a:moveTo>
                  <a:pt x="504952" y="75425"/>
                </a:moveTo>
                <a:lnTo>
                  <a:pt x="480009" y="75425"/>
                </a:lnTo>
                <a:lnTo>
                  <a:pt x="480009" y="96697"/>
                </a:lnTo>
                <a:lnTo>
                  <a:pt x="504952" y="96697"/>
                </a:lnTo>
                <a:lnTo>
                  <a:pt x="504952" y="75425"/>
                </a:lnTo>
                <a:close/>
              </a:path>
              <a:path w="784225" h="193675">
                <a:moveTo>
                  <a:pt x="455853" y="12179"/>
                </a:moveTo>
                <a:lnTo>
                  <a:pt x="430923" y="12179"/>
                </a:lnTo>
                <a:lnTo>
                  <a:pt x="430923" y="75425"/>
                </a:lnTo>
                <a:lnTo>
                  <a:pt x="556806" y="75425"/>
                </a:lnTo>
                <a:lnTo>
                  <a:pt x="556806" y="54343"/>
                </a:lnTo>
                <a:lnTo>
                  <a:pt x="455853" y="54343"/>
                </a:lnTo>
                <a:lnTo>
                  <a:pt x="455853" y="12179"/>
                </a:lnTo>
                <a:close/>
              </a:path>
              <a:path w="784225" h="193675">
                <a:moveTo>
                  <a:pt x="454863" y="128562"/>
                </a:moveTo>
                <a:lnTo>
                  <a:pt x="429933" y="128562"/>
                </a:lnTo>
                <a:lnTo>
                  <a:pt x="429933" y="185470"/>
                </a:lnTo>
                <a:lnTo>
                  <a:pt x="557606" y="185470"/>
                </a:lnTo>
                <a:lnTo>
                  <a:pt x="557606" y="164591"/>
                </a:lnTo>
                <a:lnTo>
                  <a:pt x="454863" y="164591"/>
                </a:lnTo>
                <a:lnTo>
                  <a:pt x="454863" y="128562"/>
                </a:lnTo>
                <a:close/>
              </a:path>
              <a:path w="784225" h="193675">
                <a:moveTo>
                  <a:pt x="757123" y="10401"/>
                </a:moveTo>
                <a:lnTo>
                  <a:pt x="633412" y="10401"/>
                </a:lnTo>
                <a:lnTo>
                  <a:pt x="633412" y="78498"/>
                </a:lnTo>
                <a:lnTo>
                  <a:pt x="757123" y="78498"/>
                </a:lnTo>
                <a:lnTo>
                  <a:pt x="757123" y="57797"/>
                </a:lnTo>
                <a:lnTo>
                  <a:pt x="658152" y="57797"/>
                </a:lnTo>
                <a:lnTo>
                  <a:pt x="658152" y="31076"/>
                </a:lnTo>
                <a:lnTo>
                  <a:pt x="757123" y="31076"/>
                </a:lnTo>
                <a:lnTo>
                  <a:pt x="757123" y="10401"/>
                </a:lnTo>
                <a:close/>
              </a:path>
              <a:path w="784225" h="193675">
                <a:moveTo>
                  <a:pt x="757123" y="31076"/>
                </a:moveTo>
                <a:lnTo>
                  <a:pt x="732383" y="31076"/>
                </a:lnTo>
                <a:lnTo>
                  <a:pt x="732383" y="57797"/>
                </a:lnTo>
                <a:lnTo>
                  <a:pt x="757123" y="57797"/>
                </a:lnTo>
                <a:lnTo>
                  <a:pt x="757123" y="31076"/>
                </a:lnTo>
                <a:close/>
              </a:path>
              <a:path w="784225" h="193675">
                <a:moveTo>
                  <a:pt x="657555" y="129552"/>
                </a:moveTo>
                <a:lnTo>
                  <a:pt x="632625" y="129552"/>
                </a:lnTo>
                <a:lnTo>
                  <a:pt x="632625" y="186956"/>
                </a:lnTo>
                <a:lnTo>
                  <a:pt x="760298" y="186956"/>
                </a:lnTo>
                <a:lnTo>
                  <a:pt x="760298" y="166077"/>
                </a:lnTo>
                <a:lnTo>
                  <a:pt x="657555" y="166077"/>
                </a:lnTo>
                <a:lnTo>
                  <a:pt x="657555" y="129552"/>
                </a:lnTo>
                <a:close/>
              </a:path>
              <a:path w="784225" h="193675">
                <a:moveTo>
                  <a:pt x="709625" y="116192"/>
                </a:moveTo>
                <a:lnTo>
                  <a:pt x="684784" y="116192"/>
                </a:lnTo>
                <a:lnTo>
                  <a:pt x="684784" y="153504"/>
                </a:lnTo>
                <a:lnTo>
                  <a:pt x="709625" y="153504"/>
                </a:lnTo>
                <a:lnTo>
                  <a:pt x="709625" y="116192"/>
                </a:lnTo>
                <a:close/>
              </a:path>
              <a:path w="784225" h="193675">
                <a:moveTo>
                  <a:pt x="783844" y="95313"/>
                </a:moveTo>
                <a:lnTo>
                  <a:pt x="606691" y="95313"/>
                </a:lnTo>
                <a:lnTo>
                  <a:pt x="606691" y="116192"/>
                </a:lnTo>
                <a:lnTo>
                  <a:pt x="783844" y="116192"/>
                </a:lnTo>
                <a:lnTo>
                  <a:pt x="783844" y="95313"/>
                </a:lnTo>
                <a:close/>
              </a:path>
            </a:pathLst>
          </a:custGeom>
          <a:solidFill>
            <a:srgbClr val="000000">
              <a:alpha val="6784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8"/>
          <p:cNvSpPr/>
          <p:nvPr/>
        </p:nvSpPr>
        <p:spPr>
          <a:xfrm>
            <a:off x="3283470" y="315760"/>
            <a:ext cx="989965" cy="191135"/>
          </a:xfrm>
          <a:custGeom>
            <a:avLst/>
            <a:gdLst/>
            <a:ahLst/>
            <a:cxnLst/>
            <a:rect l="l" t="t" r="r" b="b"/>
            <a:pathLst>
              <a:path w="989964" h="191134">
                <a:moveTo>
                  <a:pt x="161518" y="0"/>
                </a:moveTo>
                <a:lnTo>
                  <a:pt x="137172" y="0"/>
                </a:lnTo>
                <a:lnTo>
                  <a:pt x="137172" y="190919"/>
                </a:lnTo>
                <a:lnTo>
                  <a:pt x="161518" y="190919"/>
                </a:lnTo>
                <a:lnTo>
                  <a:pt x="161518" y="0"/>
                </a:lnTo>
                <a:close/>
              </a:path>
              <a:path w="989964" h="191134">
                <a:moveTo>
                  <a:pt x="73139" y="36918"/>
                </a:moveTo>
                <a:lnTo>
                  <a:pt x="48387" y="36918"/>
                </a:lnTo>
                <a:lnTo>
                  <a:pt x="48387" y="57213"/>
                </a:lnTo>
                <a:lnTo>
                  <a:pt x="47444" y="68019"/>
                </a:lnTo>
                <a:lnTo>
                  <a:pt x="25560" y="110859"/>
                </a:lnTo>
                <a:lnTo>
                  <a:pt x="0" y="131533"/>
                </a:lnTo>
                <a:lnTo>
                  <a:pt x="18211" y="147370"/>
                </a:lnTo>
                <a:lnTo>
                  <a:pt x="29563" y="138503"/>
                </a:lnTo>
                <a:lnTo>
                  <a:pt x="40471" y="127234"/>
                </a:lnTo>
                <a:lnTo>
                  <a:pt x="50937" y="113566"/>
                </a:lnTo>
                <a:lnTo>
                  <a:pt x="60960" y="97497"/>
                </a:lnTo>
                <a:lnTo>
                  <a:pt x="88291" y="97497"/>
                </a:lnTo>
                <a:lnTo>
                  <a:pt x="73201" y="57213"/>
                </a:lnTo>
                <a:lnTo>
                  <a:pt x="73139" y="36918"/>
                </a:lnTo>
                <a:close/>
              </a:path>
              <a:path w="989964" h="191134">
                <a:moveTo>
                  <a:pt x="88291" y="97497"/>
                </a:moveTo>
                <a:lnTo>
                  <a:pt x="60960" y="97497"/>
                </a:lnTo>
                <a:lnTo>
                  <a:pt x="69396" y="110259"/>
                </a:lnTo>
                <a:lnTo>
                  <a:pt x="79368" y="122215"/>
                </a:lnTo>
                <a:lnTo>
                  <a:pt x="90874" y="133366"/>
                </a:lnTo>
                <a:lnTo>
                  <a:pt x="103911" y="143713"/>
                </a:lnTo>
                <a:lnTo>
                  <a:pt x="120345" y="125501"/>
                </a:lnTo>
                <a:lnTo>
                  <a:pt x="111348" y="120201"/>
                </a:lnTo>
                <a:lnTo>
                  <a:pt x="102841" y="113566"/>
                </a:lnTo>
                <a:lnTo>
                  <a:pt x="94922" y="105700"/>
                </a:lnTo>
                <a:lnTo>
                  <a:pt x="88291" y="97497"/>
                </a:lnTo>
                <a:close/>
              </a:path>
              <a:path w="989964" h="191134">
                <a:moveTo>
                  <a:pt x="113614" y="16040"/>
                </a:moveTo>
                <a:lnTo>
                  <a:pt x="7023" y="16040"/>
                </a:lnTo>
                <a:lnTo>
                  <a:pt x="7023" y="36918"/>
                </a:lnTo>
                <a:lnTo>
                  <a:pt x="113614" y="36918"/>
                </a:lnTo>
                <a:lnTo>
                  <a:pt x="113614" y="16040"/>
                </a:lnTo>
                <a:close/>
              </a:path>
              <a:path w="989964" h="191134">
                <a:moveTo>
                  <a:pt x="364997" y="0"/>
                </a:moveTo>
                <a:lnTo>
                  <a:pt x="340652" y="0"/>
                </a:lnTo>
                <a:lnTo>
                  <a:pt x="340652" y="110845"/>
                </a:lnTo>
                <a:lnTo>
                  <a:pt x="364997" y="110845"/>
                </a:lnTo>
                <a:lnTo>
                  <a:pt x="364997" y="0"/>
                </a:lnTo>
                <a:close/>
              </a:path>
              <a:path w="989964" h="191134">
                <a:moveTo>
                  <a:pt x="278002" y="6045"/>
                </a:moveTo>
                <a:lnTo>
                  <a:pt x="253060" y="6045"/>
                </a:lnTo>
                <a:lnTo>
                  <a:pt x="253060" y="31876"/>
                </a:lnTo>
                <a:lnTo>
                  <a:pt x="252226" y="40944"/>
                </a:lnTo>
                <a:lnTo>
                  <a:pt x="232551" y="75071"/>
                </a:lnTo>
                <a:lnTo>
                  <a:pt x="205460" y="93040"/>
                </a:lnTo>
                <a:lnTo>
                  <a:pt x="223469" y="110858"/>
                </a:lnTo>
                <a:lnTo>
                  <a:pt x="254378" y="85192"/>
                </a:lnTo>
                <a:lnTo>
                  <a:pt x="266128" y="68884"/>
                </a:lnTo>
                <a:lnTo>
                  <a:pt x="296240" y="68884"/>
                </a:lnTo>
                <a:lnTo>
                  <a:pt x="278088" y="31876"/>
                </a:lnTo>
                <a:lnTo>
                  <a:pt x="278002" y="6045"/>
                </a:lnTo>
                <a:close/>
              </a:path>
              <a:path w="989964" h="191134">
                <a:moveTo>
                  <a:pt x="296240" y="68884"/>
                </a:moveTo>
                <a:lnTo>
                  <a:pt x="266128" y="68884"/>
                </a:lnTo>
                <a:lnTo>
                  <a:pt x="274122" y="79507"/>
                </a:lnTo>
                <a:lnTo>
                  <a:pt x="284045" y="89103"/>
                </a:lnTo>
                <a:lnTo>
                  <a:pt x="295896" y="97670"/>
                </a:lnTo>
                <a:lnTo>
                  <a:pt x="309676" y="105206"/>
                </a:lnTo>
                <a:lnTo>
                  <a:pt x="325513" y="85318"/>
                </a:lnTo>
                <a:lnTo>
                  <a:pt x="315864" y="81937"/>
                </a:lnTo>
                <a:lnTo>
                  <a:pt x="307014" y="77338"/>
                </a:lnTo>
                <a:lnTo>
                  <a:pt x="298962" y="71522"/>
                </a:lnTo>
                <a:lnTo>
                  <a:pt x="296240" y="68884"/>
                </a:lnTo>
                <a:close/>
              </a:path>
              <a:path w="989964" h="191134">
                <a:moveTo>
                  <a:pt x="364998" y="118973"/>
                </a:moveTo>
                <a:lnTo>
                  <a:pt x="237718" y="118973"/>
                </a:lnTo>
                <a:lnTo>
                  <a:pt x="237718" y="139852"/>
                </a:lnTo>
                <a:lnTo>
                  <a:pt x="340258" y="139852"/>
                </a:lnTo>
                <a:lnTo>
                  <a:pt x="340258" y="190919"/>
                </a:lnTo>
                <a:lnTo>
                  <a:pt x="364998" y="190919"/>
                </a:lnTo>
                <a:lnTo>
                  <a:pt x="364998" y="118973"/>
                </a:lnTo>
                <a:close/>
              </a:path>
              <a:path w="989964" h="191134">
                <a:moveTo>
                  <a:pt x="574217" y="0"/>
                </a:moveTo>
                <a:lnTo>
                  <a:pt x="549478" y="0"/>
                </a:lnTo>
                <a:lnTo>
                  <a:pt x="549478" y="190919"/>
                </a:lnTo>
                <a:lnTo>
                  <a:pt x="574217" y="190919"/>
                </a:lnTo>
                <a:lnTo>
                  <a:pt x="574217" y="0"/>
                </a:lnTo>
                <a:close/>
              </a:path>
              <a:path w="989964" h="191134">
                <a:moveTo>
                  <a:pt x="535228" y="88976"/>
                </a:moveTo>
                <a:lnTo>
                  <a:pt x="510781" y="88976"/>
                </a:lnTo>
                <a:lnTo>
                  <a:pt x="510781" y="185280"/>
                </a:lnTo>
                <a:lnTo>
                  <a:pt x="535228" y="185280"/>
                </a:lnTo>
                <a:lnTo>
                  <a:pt x="535228" y="88976"/>
                </a:lnTo>
                <a:close/>
              </a:path>
              <a:path w="989964" h="191134">
                <a:moveTo>
                  <a:pt x="438734" y="13563"/>
                </a:moveTo>
                <a:lnTo>
                  <a:pt x="414489" y="13563"/>
                </a:lnTo>
                <a:lnTo>
                  <a:pt x="414489" y="139255"/>
                </a:lnTo>
                <a:lnTo>
                  <a:pt x="490689" y="139255"/>
                </a:lnTo>
                <a:lnTo>
                  <a:pt x="490689" y="118376"/>
                </a:lnTo>
                <a:lnTo>
                  <a:pt x="438721" y="118376"/>
                </a:lnTo>
                <a:lnTo>
                  <a:pt x="438721" y="80860"/>
                </a:lnTo>
                <a:lnTo>
                  <a:pt x="535228" y="80860"/>
                </a:lnTo>
                <a:lnTo>
                  <a:pt x="535228" y="67894"/>
                </a:lnTo>
                <a:lnTo>
                  <a:pt x="490689" y="67894"/>
                </a:lnTo>
                <a:lnTo>
                  <a:pt x="490689" y="60185"/>
                </a:lnTo>
                <a:lnTo>
                  <a:pt x="438734" y="60185"/>
                </a:lnTo>
                <a:lnTo>
                  <a:pt x="438734" y="13563"/>
                </a:lnTo>
                <a:close/>
              </a:path>
              <a:path w="989964" h="191134">
                <a:moveTo>
                  <a:pt x="535228" y="80860"/>
                </a:moveTo>
                <a:lnTo>
                  <a:pt x="466140" y="80860"/>
                </a:lnTo>
                <a:lnTo>
                  <a:pt x="466140" y="118376"/>
                </a:lnTo>
                <a:lnTo>
                  <a:pt x="490689" y="118376"/>
                </a:lnTo>
                <a:lnTo>
                  <a:pt x="490689" y="88976"/>
                </a:lnTo>
                <a:lnTo>
                  <a:pt x="535228" y="88976"/>
                </a:lnTo>
                <a:lnTo>
                  <a:pt x="535228" y="80860"/>
                </a:lnTo>
                <a:close/>
              </a:path>
              <a:path w="989964" h="191134">
                <a:moveTo>
                  <a:pt x="535228" y="3860"/>
                </a:moveTo>
                <a:lnTo>
                  <a:pt x="510781" y="3860"/>
                </a:lnTo>
                <a:lnTo>
                  <a:pt x="510781" y="67894"/>
                </a:lnTo>
                <a:lnTo>
                  <a:pt x="535228" y="67894"/>
                </a:lnTo>
                <a:lnTo>
                  <a:pt x="535228" y="3860"/>
                </a:lnTo>
                <a:close/>
              </a:path>
              <a:path w="989964" h="191134">
                <a:moveTo>
                  <a:pt x="490689" y="13563"/>
                </a:moveTo>
                <a:lnTo>
                  <a:pt x="466140" y="13563"/>
                </a:lnTo>
                <a:lnTo>
                  <a:pt x="466140" y="60185"/>
                </a:lnTo>
                <a:lnTo>
                  <a:pt x="490689" y="60185"/>
                </a:lnTo>
                <a:lnTo>
                  <a:pt x="490689" y="13563"/>
                </a:lnTo>
                <a:close/>
              </a:path>
              <a:path w="989964" h="191134">
                <a:moveTo>
                  <a:pt x="770381" y="0"/>
                </a:moveTo>
                <a:lnTo>
                  <a:pt x="745832" y="0"/>
                </a:lnTo>
                <a:lnTo>
                  <a:pt x="745832" y="190919"/>
                </a:lnTo>
                <a:lnTo>
                  <a:pt x="770381" y="190919"/>
                </a:lnTo>
                <a:lnTo>
                  <a:pt x="770381" y="0"/>
                </a:lnTo>
                <a:close/>
              </a:path>
              <a:path w="989964" h="191134">
                <a:moveTo>
                  <a:pt x="667054" y="12179"/>
                </a:moveTo>
                <a:lnTo>
                  <a:pt x="630491" y="29794"/>
                </a:lnTo>
                <a:lnTo>
                  <a:pt x="616775" y="78295"/>
                </a:lnTo>
                <a:lnTo>
                  <a:pt x="617635" y="92707"/>
                </a:lnTo>
                <a:lnTo>
                  <a:pt x="637981" y="134427"/>
                </a:lnTo>
                <a:lnTo>
                  <a:pt x="667054" y="144500"/>
                </a:lnTo>
                <a:lnTo>
                  <a:pt x="677930" y="143381"/>
                </a:lnTo>
                <a:lnTo>
                  <a:pt x="687590" y="140060"/>
                </a:lnTo>
                <a:lnTo>
                  <a:pt x="696115" y="134508"/>
                </a:lnTo>
                <a:lnTo>
                  <a:pt x="703478" y="126733"/>
                </a:lnTo>
                <a:lnTo>
                  <a:pt x="705384" y="123621"/>
                </a:lnTo>
                <a:lnTo>
                  <a:pt x="659739" y="123621"/>
                </a:lnTo>
                <a:lnTo>
                  <a:pt x="653567" y="119532"/>
                </a:lnTo>
                <a:lnTo>
                  <a:pt x="641032" y="78485"/>
                </a:lnTo>
                <a:lnTo>
                  <a:pt x="641489" y="68589"/>
                </a:lnTo>
                <a:lnTo>
                  <a:pt x="659472" y="33261"/>
                </a:lnTo>
                <a:lnTo>
                  <a:pt x="705466" y="33261"/>
                </a:lnTo>
                <a:lnTo>
                  <a:pt x="703427" y="29946"/>
                </a:lnTo>
                <a:lnTo>
                  <a:pt x="696053" y="22171"/>
                </a:lnTo>
                <a:lnTo>
                  <a:pt x="687531" y="16619"/>
                </a:lnTo>
                <a:lnTo>
                  <a:pt x="677865" y="13289"/>
                </a:lnTo>
                <a:lnTo>
                  <a:pt x="667054" y="12179"/>
                </a:lnTo>
                <a:close/>
              </a:path>
              <a:path w="989964" h="191134">
                <a:moveTo>
                  <a:pt x="705466" y="33261"/>
                </a:moveTo>
                <a:lnTo>
                  <a:pt x="674649" y="33261"/>
                </a:lnTo>
                <a:lnTo>
                  <a:pt x="680859" y="37312"/>
                </a:lnTo>
                <a:lnTo>
                  <a:pt x="685711" y="45427"/>
                </a:lnTo>
                <a:lnTo>
                  <a:pt x="688894" y="52059"/>
                </a:lnTo>
                <a:lnTo>
                  <a:pt x="691168" y="59780"/>
                </a:lnTo>
                <a:lnTo>
                  <a:pt x="692533" y="68589"/>
                </a:lnTo>
                <a:lnTo>
                  <a:pt x="692988" y="78485"/>
                </a:lnTo>
                <a:lnTo>
                  <a:pt x="692518" y="88379"/>
                </a:lnTo>
                <a:lnTo>
                  <a:pt x="674319" y="123621"/>
                </a:lnTo>
                <a:lnTo>
                  <a:pt x="705384" y="123621"/>
                </a:lnTo>
                <a:lnTo>
                  <a:pt x="709412" y="117046"/>
                </a:lnTo>
                <a:lnTo>
                  <a:pt x="713651" y="105743"/>
                </a:lnTo>
                <a:lnTo>
                  <a:pt x="716194" y="92825"/>
                </a:lnTo>
                <a:lnTo>
                  <a:pt x="717041" y="78295"/>
                </a:lnTo>
                <a:lnTo>
                  <a:pt x="716189" y="63800"/>
                </a:lnTo>
                <a:lnTo>
                  <a:pt x="713635" y="50911"/>
                </a:lnTo>
                <a:lnTo>
                  <a:pt x="709380" y="39626"/>
                </a:lnTo>
                <a:lnTo>
                  <a:pt x="705466" y="33261"/>
                </a:lnTo>
                <a:close/>
              </a:path>
              <a:path w="989964" h="191134">
                <a:moveTo>
                  <a:pt x="913891" y="12382"/>
                </a:moveTo>
                <a:lnTo>
                  <a:pt x="888746" y="12382"/>
                </a:lnTo>
                <a:lnTo>
                  <a:pt x="888746" y="26530"/>
                </a:lnTo>
                <a:lnTo>
                  <a:pt x="887605" y="34723"/>
                </a:lnTo>
                <a:lnTo>
                  <a:pt x="860334" y="68354"/>
                </a:lnTo>
                <a:lnTo>
                  <a:pt x="818184" y="85115"/>
                </a:lnTo>
                <a:lnTo>
                  <a:pt x="832637" y="104419"/>
                </a:lnTo>
                <a:lnTo>
                  <a:pt x="872477" y="86105"/>
                </a:lnTo>
                <a:lnTo>
                  <a:pt x="901128" y="58788"/>
                </a:lnTo>
                <a:lnTo>
                  <a:pt x="930927" y="58788"/>
                </a:lnTo>
                <a:lnTo>
                  <a:pt x="924162" y="51369"/>
                </a:lnTo>
                <a:lnTo>
                  <a:pt x="918456" y="42846"/>
                </a:lnTo>
                <a:lnTo>
                  <a:pt x="915032" y="34567"/>
                </a:lnTo>
                <a:lnTo>
                  <a:pt x="913891" y="26530"/>
                </a:lnTo>
                <a:lnTo>
                  <a:pt x="913891" y="12382"/>
                </a:lnTo>
                <a:close/>
              </a:path>
              <a:path w="989964" h="191134">
                <a:moveTo>
                  <a:pt x="930927" y="58788"/>
                </a:moveTo>
                <a:lnTo>
                  <a:pt x="901128" y="58788"/>
                </a:lnTo>
                <a:lnTo>
                  <a:pt x="906648" y="65731"/>
                </a:lnTo>
                <a:lnTo>
                  <a:pt x="939754" y="91441"/>
                </a:lnTo>
                <a:lnTo>
                  <a:pt x="969606" y="104216"/>
                </a:lnTo>
                <a:lnTo>
                  <a:pt x="984059" y="85115"/>
                </a:lnTo>
                <a:lnTo>
                  <a:pt x="968198" y="80846"/>
                </a:lnTo>
                <a:lnTo>
                  <a:pt x="954258" y="75258"/>
                </a:lnTo>
                <a:lnTo>
                  <a:pt x="942215" y="68331"/>
                </a:lnTo>
                <a:lnTo>
                  <a:pt x="932154" y="60134"/>
                </a:lnTo>
                <a:lnTo>
                  <a:pt x="930927" y="58788"/>
                </a:lnTo>
                <a:close/>
              </a:path>
              <a:path w="989964" h="191134">
                <a:moveTo>
                  <a:pt x="989888" y="142125"/>
                </a:moveTo>
                <a:lnTo>
                  <a:pt x="812736" y="142125"/>
                </a:lnTo>
                <a:lnTo>
                  <a:pt x="812736" y="162509"/>
                </a:lnTo>
                <a:lnTo>
                  <a:pt x="989888" y="162509"/>
                </a:lnTo>
                <a:lnTo>
                  <a:pt x="989888" y="142125"/>
                </a:lnTo>
                <a:close/>
              </a:path>
            </a:pathLst>
          </a:custGeom>
          <a:solidFill>
            <a:srgbClr val="000000">
              <a:alpha val="6784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TextBox 15"/>
          <p:cNvSpPr txBox="1"/>
          <p:nvPr/>
        </p:nvSpPr>
        <p:spPr>
          <a:xfrm>
            <a:off x="5229155" y="409930"/>
            <a:ext cx="44037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b="1" dirty="0">
                <a:latin typeface="+mj-ea"/>
                <a:ea typeface="+mj-ea"/>
              </a:rPr>
              <a:t>온라인 논문투고심사 시스템 매뉴얼</a:t>
            </a:r>
          </a:p>
        </p:txBody>
      </p:sp>
      <p:sp>
        <p:nvSpPr>
          <p:cNvPr id="19" name="object 9"/>
          <p:cNvSpPr txBox="1"/>
          <p:nvPr/>
        </p:nvSpPr>
        <p:spPr>
          <a:xfrm>
            <a:off x="6877911" y="1683389"/>
            <a:ext cx="2542540" cy="939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r" eaLnBrk="1" fontAlgn="auto" latinLnBrk="1" hangingPunct="1">
              <a:spcBef>
                <a:spcPts val="100"/>
              </a:spcBef>
              <a:spcAft>
                <a:spcPts val="0"/>
              </a:spcAft>
            </a:pPr>
            <a:r>
              <a:rPr sz="6000" spc="480" dirty="0">
                <a:solidFill>
                  <a:srgbClr val="9A5F32"/>
                </a:solidFill>
                <a:latin typeface="+mj-lt"/>
                <a:ea typeface="맑은 고딕"/>
                <a:cs typeface="Noto Sans CJK JP Regular"/>
              </a:rPr>
              <a:t>투고자</a:t>
            </a:r>
            <a:endParaRPr sz="6000" dirty="0">
              <a:solidFill>
                <a:prstClr val="black"/>
              </a:solidFill>
              <a:latin typeface="+mj-lt"/>
              <a:ea typeface="맑은 고딕"/>
              <a:cs typeface="Noto Sans CJK JP Regular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BC0B6227-F8D0-4B92-916B-FD01FC2B7B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218" y="1180621"/>
            <a:ext cx="6239746" cy="5172797"/>
          </a:xfrm>
          <a:prstGeom prst="rect">
            <a:avLst/>
          </a:prstGeom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5. </a:t>
            </a:r>
            <a:r>
              <a:rPr lang="ko-KR" altLang="en-US" dirty="0"/>
              <a:t>신규 논문 투고 </a:t>
            </a:r>
            <a:r>
              <a:rPr lang="en-US" altLang="ko-KR" dirty="0"/>
              <a:t>– STEP 2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STEP 2. </a:t>
            </a:r>
            <a:r>
              <a:rPr lang="ko-KR" altLang="en-US" dirty="0"/>
              <a:t>투고정보 입력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투고하기</a:t>
            </a: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STEP 2. </a:t>
            </a:r>
            <a:r>
              <a:rPr lang="ko-KR" altLang="en-US" dirty="0"/>
              <a:t>투고정보 입력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7694625"/>
              </p:ext>
            </p:extLst>
          </p:nvPr>
        </p:nvGraphicFramePr>
        <p:xfrm>
          <a:off x="7874715" y="980727"/>
          <a:ext cx="1842305" cy="995020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논문제목 입력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문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초록 입력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문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논문분야체크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발표유형체크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2" name="Rectangle 77" descr="넓은 상향 대각선"/>
          <p:cNvSpPr>
            <a:spLocks noChangeArrowheads="1"/>
          </p:cNvSpPr>
          <p:nvPr/>
        </p:nvSpPr>
        <p:spPr bwMode="auto">
          <a:xfrm>
            <a:off x="870218" y="1202664"/>
            <a:ext cx="6026998" cy="5172798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720958" y="1069166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704528" y="1645230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704528" y="3861048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704528" y="5893702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4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01251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A49D1CBF-D127-4EBF-B427-B556883CDB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442" y="1284229"/>
            <a:ext cx="6487430" cy="3991532"/>
          </a:xfrm>
          <a:prstGeom prst="rect">
            <a:avLst/>
          </a:prstGeom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5. </a:t>
            </a:r>
            <a:r>
              <a:rPr lang="ko-KR" altLang="en-US" dirty="0"/>
              <a:t>신규 논문 투고 </a:t>
            </a:r>
            <a:r>
              <a:rPr lang="en-US" altLang="ko-KR" dirty="0"/>
              <a:t>– STEP 2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STEP 2. </a:t>
            </a:r>
            <a:r>
              <a:rPr lang="ko-KR" altLang="en-US" dirty="0"/>
              <a:t>투고정보 입력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투고하기</a:t>
            </a: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STEP 2. </a:t>
            </a:r>
            <a:r>
              <a:rPr lang="ko-KR" altLang="en-US" dirty="0"/>
              <a:t>투고정보 입력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8503076"/>
              </p:ext>
            </p:extLst>
          </p:nvPr>
        </p:nvGraphicFramePr>
        <p:xfrm>
          <a:off x="7874715" y="980727"/>
          <a:ext cx="1842305" cy="1576065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심사용파일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업로드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저자정보삭제</a:t>
                      </a:r>
                      <a:r>
                        <a:rPr lang="en-US" altLang="ko-KR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련파일 업로드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- 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심사위원 확인 가능 파일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저자정보삭제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논문파일 제출</a:t>
                      </a:r>
                      <a:r>
                        <a:rPr lang="en-US" altLang="ko-KR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저자정보삭제</a:t>
                      </a:r>
                      <a:r>
                        <a:rPr lang="en-US" altLang="ko-KR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X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다음단계</a:t>
                      </a:r>
                      <a:r>
                        <a:rPr lang="en-US" altLang="ko-KR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이동 클릭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저장 후 다음 단계 이동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2" name="Rectangle 77" descr="넓은 상향 대각선"/>
          <p:cNvSpPr>
            <a:spLocks noChangeArrowheads="1"/>
          </p:cNvSpPr>
          <p:nvPr/>
        </p:nvSpPr>
        <p:spPr bwMode="auto">
          <a:xfrm>
            <a:off x="1120146" y="1311816"/>
            <a:ext cx="6209118" cy="2333208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920552" y="1196752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920552" y="1933262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920552" y="2852936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3457262" y="4741574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pic>
        <p:nvPicPr>
          <p:cNvPr id="4403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8984" y="5173490"/>
            <a:ext cx="2601764" cy="12077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ctangle 77" descr="넓은 상향 대각선"/>
          <p:cNvSpPr>
            <a:spLocks noChangeArrowheads="1"/>
          </p:cNvSpPr>
          <p:nvPr/>
        </p:nvSpPr>
        <p:spPr bwMode="auto">
          <a:xfrm>
            <a:off x="6465168" y="5977068"/>
            <a:ext cx="432048" cy="404136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6321152" y="5877272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04364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0C4E74F3-606C-498D-B25A-402E2B6C3D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9204" y="1200312"/>
            <a:ext cx="5816044" cy="5252375"/>
          </a:xfrm>
          <a:prstGeom prst="rect">
            <a:avLst/>
          </a:prstGeom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5. </a:t>
            </a:r>
            <a:r>
              <a:rPr lang="ko-KR" altLang="en-US" dirty="0"/>
              <a:t>신규 논문 투고 </a:t>
            </a:r>
            <a:r>
              <a:rPr lang="en-US" altLang="ko-KR" dirty="0"/>
              <a:t>– STEP 3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STEP 3</a:t>
            </a:r>
            <a:r>
              <a:rPr lang="en-US" altLang="ko-KR"/>
              <a:t>. </a:t>
            </a:r>
            <a:r>
              <a:rPr lang="ko-KR" altLang="en-US" dirty="0"/>
              <a:t>저자 등록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투고하기</a:t>
            </a: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STEP 3. </a:t>
            </a:r>
            <a:r>
              <a:rPr lang="ko-KR" altLang="en-US" dirty="0"/>
              <a:t>투고정보 입력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8635608"/>
              </p:ext>
            </p:extLst>
          </p:nvPr>
        </p:nvGraphicFramePr>
        <p:xfrm>
          <a:off x="7874715" y="980727"/>
          <a:ext cx="1842305" cy="1590095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EP 2 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정보 입력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작성완료 확인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회원 정보 불러오기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자 한글성명 입력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자 영문성명 입력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자 </a:t>
                      </a: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이메일주소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입력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6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이메일주소로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회원정보 조회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2" name="Rectangle 77" descr="넓은 상향 대각선"/>
          <p:cNvSpPr>
            <a:spLocks noChangeArrowheads="1"/>
          </p:cNvSpPr>
          <p:nvPr/>
        </p:nvSpPr>
        <p:spPr bwMode="auto">
          <a:xfrm>
            <a:off x="1280592" y="2348880"/>
            <a:ext cx="5913784" cy="2088232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3080792" y="3517438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5" name="Rectangle 77" descr="넓은 상향 대각선"/>
          <p:cNvSpPr>
            <a:spLocks noChangeArrowheads="1"/>
          </p:cNvSpPr>
          <p:nvPr/>
        </p:nvSpPr>
        <p:spPr bwMode="auto">
          <a:xfrm>
            <a:off x="1496790" y="5085184"/>
            <a:ext cx="5697586" cy="1296144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6" name="Rectangle 77" descr="넓은 상향 대각선"/>
          <p:cNvSpPr>
            <a:spLocks noChangeArrowheads="1"/>
          </p:cNvSpPr>
          <p:nvPr/>
        </p:nvSpPr>
        <p:spPr bwMode="auto">
          <a:xfrm>
            <a:off x="6168008" y="4797152"/>
            <a:ext cx="1017240" cy="260244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1280592" y="5245630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1280592" y="5605670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4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1297022" y="6021288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5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049550" y="4669566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3080792" y="5949280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33531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845DACCA-B3C1-4AE4-9C1C-1D770B5E74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772" y="1690767"/>
            <a:ext cx="6554115" cy="4220164"/>
          </a:xfrm>
          <a:prstGeom prst="rect">
            <a:avLst/>
          </a:prstGeom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5. </a:t>
            </a:r>
            <a:r>
              <a:rPr lang="ko-KR" altLang="en-US" dirty="0"/>
              <a:t>신규 논문 투고 </a:t>
            </a:r>
            <a:r>
              <a:rPr lang="en-US" altLang="ko-KR" dirty="0"/>
              <a:t>– STEP 3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STEP 3</a:t>
            </a:r>
            <a:r>
              <a:rPr lang="en-US" altLang="ko-KR"/>
              <a:t>. </a:t>
            </a:r>
            <a:r>
              <a:rPr lang="ko-KR" altLang="en-US" dirty="0"/>
              <a:t>저자 등록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투고하기</a:t>
            </a: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STEP 3. </a:t>
            </a:r>
            <a:r>
              <a:rPr lang="ko-KR" altLang="en-US" dirty="0"/>
              <a:t>투고정보 입력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6972701"/>
              </p:ext>
            </p:extLst>
          </p:nvPr>
        </p:nvGraphicFramePr>
        <p:xfrm>
          <a:off x="7874715" y="980727"/>
          <a:ext cx="1842305" cy="2238795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회원 정보 불러오기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자 한글성명 입력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자 영문성명 입력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자 </a:t>
                      </a: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이메일주소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입력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이메일주소로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회원정보 조회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6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자 휴대폰번호 입력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7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자 전화번호 입력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8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자 </a:t>
                      </a: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소속기관명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입력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9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자 주소 정보 입력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5" name="Rectangle 77" descr="넓은 상향 대각선"/>
          <p:cNvSpPr>
            <a:spLocks noChangeArrowheads="1"/>
          </p:cNvSpPr>
          <p:nvPr/>
        </p:nvSpPr>
        <p:spPr bwMode="auto">
          <a:xfrm>
            <a:off x="784512" y="2420888"/>
            <a:ext cx="6204348" cy="3456384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6" name="Rectangle 77" descr="넓은 상향 대각선"/>
          <p:cNvSpPr>
            <a:spLocks noChangeArrowheads="1"/>
          </p:cNvSpPr>
          <p:nvPr/>
        </p:nvSpPr>
        <p:spPr bwMode="auto">
          <a:xfrm>
            <a:off x="6105128" y="2016628"/>
            <a:ext cx="1017240" cy="260244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704528" y="2492896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704528" y="2870910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693468" y="3374966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5977542" y="1916832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704528" y="4583001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8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2579399" y="3374966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693468" y="3861748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696421" y="4205358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7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704528" y="5230136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9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67557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5. </a:t>
            </a:r>
            <a:r>
              <a:rPr lang="ko-KR" altLang="en-US" dirty="0"/>
              <a:t>신규 논문 투고 </a:t>
            </a:r>
            <a:r>
              <a:rPr lang="en-US" altLang="ko-KR" dirty="0"/>
              <a:t>– STEP 3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STEP 3</a:t>
            </a:r>
            <a:r>
              <a:rPr lang="en-US" altLang="ko-KR"/>
              <a:t>. </a:t>
            </a:r>
            <a:r>
              <a:rPr lang="ko-KR" altLang="en-US" dirty="0"/>
              <a:t>저자 등록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투고하기</a:t>
            </a: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STEP 3. </a:t>
            </a:r>
            <a:r>
              <a:rPr lang="ko-KR" altLang="en-US" dirty="0"/>
              <a:t>투고정보 입력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0114273"/>
              </p:ext>
            </p:extLst>
          </p:nvPr>
        </p:nvGraphicFramePr>
        <p:xfrm>
          <a:off x="7874715" y="980727"/>
          <a:ext cx="1842305" cy="1438905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제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저자 정보 입력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교신저자 정보 입력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회 회원 공저자 정보 입력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해당할 시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논문 제출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심사용파일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저자 정보 삭제 확인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471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28" y="973856"/>
            <a:ext cx="4424360" cy="25204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77" descr="넓은 상향 대각선"/>
          <p:cNvSpPr>
            <a:spLocks noChangeArrowheads="1"/>
          </p:cNvSpPr>
          <p:nvPr/>
        </p:nvSpPr>
        <p:spPr bwMode="auto">
          <a:xfrm>
            <a:off x="2053169" y="1185013"/>
            <a:ext cx="3036228" cy="2212179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1980235" y="1219239"/>
            <a:ext cx="145865" cy="14586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pic>
        <p:nvPicPr>
          <p:cNvPr id="4710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6480" y="2564904"/>
            <a:ext cx="4762316" cy="40588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77" descr="넓은 상향 대각선"/>
          <p:cNvSpPr>
            <a:spLocks noChangeArrowheads="1"/>
          </p:cNvSpPr>
          <p:nvPr/>
        </p:nvSpPr>
        <p:spPr bwMode="auto">
          <a:xfrm>
            <a:off x="2916708" y="2852936"/>
            <a:ext cx="3036228" cy="2448272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2843775" y="2873363"/>
            <a:ext cx="145865" cy="14586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0" name="Rectangle 77" descr="넓은 상향 대각선"/>
          <p:cNvSpPr>
            <a:spLocks noChangeArrowheads="1"/>
          </p:cNvSpPr>
          <p:nvPr/>
        </p:nvSpPr>
        <p:spPr bwMode="auto">
          <a:xfrm>
            <a:off x="1620564" y="5733256"/>
            <a:ext cx="4332372" cy="360040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1486803" y="5767412"/>
            <a:ext cx="145865" cy="14586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pic>
        <p:nvPicPr>
          <p:cNvPr id="4710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2106" y="4365104"/>
            <a:ext cx="2343282" cy="11716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직사각형 36"/>
          <p:cNvSpPr/>
          <p:nvPr/>
        </p:nvSpPr>
        <p:spPr>
          <a:xfrm>
            <a:off x="6562496" y="5121188"/>
            <a:ext cx="145865" cy="14586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5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8" name="Rectangle 77" descr="넓은 상향 대각선"/>
          <p:cNvSpPr>
            <a:spLocks noChangeArrowheads="1"/>
          </p:cNvSpPr>
          <p:nvPr/>
        </p:nvSpPr>
        <p:spPr bwMode="auto">
          <a:xfrm>
            <a:off x="6635429" y="5194120"/>
            <a:ext cx="523365" cy="360040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70322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6075" y="1319009"/>
            <a:ext cx="5400600" cy="50423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6. </a:t>
            </a:r>
            <a:r>
              <a:rPr lang="ko-KR" altLang="en-US" dirty="0"/>
              <a:t>논문 투고 현황 확인</a:t>
            </a:r>
            <a:r>
              <a:rPr lang="en-US" altLang="ko-KR" dirty="0"/>
              <a:t>(</a:t>
            </a:r>
            <a:r>
              <a:rPr lang="ko-KR" altLang="en-US" dirty="0" err="1"/>
              <a:t>대시보드</a:t>
            </a:r>
            <a:r>
              <a:rPr lang="ko-KR" altLang="en-US" dirty="0"/>
              <a:t> </a:t>
            </a:r>
            <a:r>
              <a:rPr lang="en-US" altLang="ko-KR" dirty="0"/>
              <a:t>– </a:t>
            </a:r>
            <a:r>
              <a:rPr lang="ko-KR" altLang="en-US" dirty="0"/>
              <a:t>종합현황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 err="1"/>
              <a:t>대시보드</a:t>
            </a:r>
            <a:endParaRPr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ko-KR" altLang="en-US" dirty="0"/>
              <a:t>논문 투고 종합현황 확인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6924867"/>
              </p:ext>
            </p:extLst>
          </p:nvPr>
        </p:nvGraphicFramePr>
        <p:xfrm>
          <a:off x="7874715" y="980727"/>
          <a:ext cx="1842305" cy="248755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논문의 접수대기 확인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</a:tbl>
          </a:graphicData>
        </a:graphic>
      </p:graphicFrame>
      <p:sp>
        <p:nvSpPr>
          <p:cNvPr id="22" name="Rectangle 77" descr="넓은 상향 대각선"/>
          <p:cNvSpPr>
            <a:spLocks noChangeArrowheads="1"/>
          </p:cNvSpPr>
          <p:nvPr/>
        </p:nvSpPr>
        <p:spPr bwMode="auto">
          <a:xfrm>
            <a:off x="1316074" y="3645024"/>
            <a:ext cx="3780941" cy="432048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2576736" y="3744639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66967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DC33E1E6-1A15-4305-8533-F3F31A3AE8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162" y="918812"/>
            <a:ext cx="6182588" cy="5020376"/>
          </a:xfrm>
          <a:prstGeom prst="rect">
            <a:avLst/>
          </a:prstGeom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200472" y="55984"/>
            <a:ext cx="9145016" cy="420688"/>
          </a:xfrm>
        </p:spPr>
        <p:txBody>
          <a:bodyPr/>
          <a:lstStyle/>
          <a:p>
            <a:r>
              <a:rPr lang="en-US" altLang="ko-KR" dirty="0"/>
              <a:t>7. </a:t>
            </a:r>
            <a:r>
              <a:rPr lang="ko-KR" altLang="en-US" dirty="0"/>
              <a:t>투고 논문 심사 현황 확인</a:t>
            </a:r>
            <a:r>
              <a:rPr lang="en-US" altLang="ko-KR" dirty="0"/>
              <a:t>(</a:t>
            </a:r>
            <a:r>
              <a:rPr lang="ko-KR" altLang="en-US" dirty="0" err="1"/>
              <a:t>대시보드</a:t>
            </a:r>
            <a:r>
              <a:rPr lang="ko-KR" altLang="en-US" dirty="0"/>
              <a:t> </a:t>
            </a:r>
            <a:r>
              <a:rPr lang="en-US" altLang="ko-KR" dirty="0"/>
              <a:t>– </a:t>
            </a:r>
            <a:r>
              <a:rPr lang="ko-KR" altLang="en-US" dirty="0"/>
              <a:t>논문심사현황</a:t>
            </a:r>
            <a:r>
              <a:rPr lang="en-US" altLang="ko-KR" dirty="0"/>
              <a:t>→</a:t>
            </a:r>
            <a:r>
              <a:rPr lang="ko-KR" altLang="en-US" dirty="0"/>
              <a:t>수정논문 제출대기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 err="1"/>
              <a:t>대시보드</a:t>
            </a:r>
            <a:endParaRPr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ko-KR" altLang="en-US" dirty="0"/>
              <a:t>투고 논문 심사현황</a:t>
            </a:r>
            <a:r>
              <a:rPr lang="en-US" altLang="ko-KR" dirty="0"/>
              <a:t>, </a:t>
            </a:r>
            <a:r>
              <a:rPr lang="ko-KR" altLang="en-US" dirty="0"/>
              <a:t>수정논문 제출대기 확인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72512"/>
              </p:ext>
            </p:extLst>
          </p:nvPr>
        </p:nvGraphicFramePr>
        <p:xfrm>
          <a:off x="7874715" y="980727"/>
          <a:ext cx="1842305" cy="1241280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논문심사현황 확인</a:t>
                      </a:r>
                      <a:b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</a:b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심사중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총평중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회 관리자의 논문 접수 이후</a:t>
                      </a:r>
                      <a:r>
                        <a:rPr lang="en-US" altLang="ko-KR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심사 배정 시</a:t>
                      </a:r>
                      <a:r>
                        <a:rPr lang="en-US" altLang="ko-KR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정논문 제출대기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정후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재심 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정후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게재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편집위원장 또는 편집위원의</a:t>
                      </a:r>
                      <a:endParaRPr lang="en-US" altLang="ko-KR" sz="900" b="1" kern="1200" dirty="0">
                        <a:solidFill>
                          <a:srgbClr val="C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심사결과에 따른 총평 이후</a:t>
                      </a:r>
                      <a:r>
                        <a:rPr lang="en-US" altLang="ko-KR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8309" y="4439510"/>
            <a:ext cx="5631656" cy="568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4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8309" y="5008446"/>
            <a:ext cx="5669110" cy="575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77" descr="넓은 상향 대각선"/>
          <p:cNvSpPr>
            <a:spLocks noChangeArrowheads="1"/>
          </p:cNvSpPr>
          <p:nvPr/>
        </p:nvSpPr>
        <p:spPr bwMode="auto">
          <a:xfrm>
            <a:off x="3337035" y="4430046"/>
            <a:ext cx="5631657" cy="568936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3174862" y="4339531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" name="Rectangle 77" descr="넓은 상향 대각선"/>
          <p:cNvSpPr>
            <a:spLocks noChangeArrowheads="1"/>
          </p:cNvSpPr>
          <p:nvPr/>
        </p:nvSpPr>
        <p:spPr bwMode="auto">
          <a:xfrm>
            <a:off x="3318308" y="5008446"/>
            <a:ext cx="5631657" cy="568936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3174862" y="4908467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" name="object 15"/>
          <p:cNvSpPr/>
          <p:nvPr/>
        </p:nvSpPr>
        <p:spPr>
          <a:xfrm rot="17709255">
            <a:off x="1744593" y="4175631"/>
            <a:ext cx="1009563" cy="1833815"/>
          </a:xfrm>
          <a:custGeom>
            <a:avLst/>
            <a:gdLst/>
            <a:ahLst/>
            <a:cxnLst/>
            <a:rect l="l" t="t" r="r" b="b"/>
            <a:pathLst>
              <a:path w="978535" h="1432560">
                <a:moveTo>
                  <a:pt x="345236" y="0"/>
                </a:moveTo>
                <a:lnTo>
                  <a:pt x="0" y="111988"/>
                </a:lnTo>
                <a:lnTo>
                  <a:pt x="386664" y="1303934"/>
                </a:lnTo>
                <a:lnTo>
                  <a:pt x="140614" y="1383753"/>
                </a:lnTo>
                <a:lnTo>
                  <a:pt x="619010" y="1432039"/>
                </a:lnTo>
                <a:lnTo>
                  <a:pt x="888393" y="1191945"/>
                </a:lnTo>
                <a:lnTo>
                  <a:pt x="731901" y="1191945"/>
                </a:lnTo>
                <a:lnTo>
                  <a:pt x="345236" y="0"/>
                </a:lnTo>
                <a:close/>
              </a:path>
              <a:path w="978535" h="1432560">
                <a:moveTo>
                  <a:pt x="977950" y="1112126"/>
                </a:moveTo>
                <a:lnTo>
                  <a:pt x="731901" y="1191945"/>
                </a:lnTo>
                <a:lnTo>
                  <a:pt x="888393" y="1191945"/>
                </a:lnTo>
                <a:lnTo>
                  <a:pt x="977950" y="1112126"/>
                </a:lnTo>
                <a:close/>
              </a:path>
            </a:pathLst>
          </a:custGeom>
          <a:solidFill>
            <a:srgbClr val="C0C0C0">
              <a:alpha val="61961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764487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282" y="842311"/>
            <a:ext cx="3471552" cy="31479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8. </a:t>
            </a:r>
            <a:r>
              <a:rPr lang="ko-KR" altLang="en-US" dirty="0"/>
              <a:t>수정논문 제출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/>
              <a:t>수정논문제출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err="1"/>
              <a:t>대시보드</a:t>
            </a:r>
            <a:endParaRPr lang="ko-KR" altLang="en-US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ko-KR" altLang="en-US" dirty="0"/>
              <a:t>수정논문 제출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6439528"/>
              </p:ext>
            </p:extLst>
          </p:nvPr>
        </p:nvGraphicFramePr>
        <p:xfrm>
          <a:off x="7874715" y="980727"/>
          <a:ext cx="1842305" cy="1590095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심사정보 확인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정요청사항 답변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자 심사답변서 </a:t>
                      </a:r>
                      <a:b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</a:b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파일 업로드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심사답변내용 작성</a:t>
                      </a:r>
                      <a: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술형</a:t>
                      </a:r>
                      <a: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정논문제출 클릭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6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정논문제출 확인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3277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0742" y="2565070"/>
            <a:ext cx="4135112" cy="28932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77" descr="넓은 상향 대각선"/>
          <p:cNvSpPr>
            <a:spLocks noChangeArrowheads="1"/>
          </p:cNvSpPr>
          <p:nvPr/>
        </p:nvSpPr>
        <p:spPr bwMode="auto">
          <a:xfrm>
            <a:off x="2110742" y="2565070"/>
            <a:ext cx="4135112" cy="2893298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2010945" y="2421054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2079166" y="4628917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2079166" y="4941334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4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3406886" y="3542238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pic>
        <p:nvPicPr>
          <p:cNvPr id="32775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8298" y="4237961"/>
            <a:ext cx="3486150" cy="590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6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7462" y="4941334"/>
            <a:ext cx="2514850" cy="9625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77" descr="넓은 상향 대각선"/>
          <p:cNvSpPr>
            <a:spLocks noChangeArrowheads="1"/>
          </p:cNvSpPr>
          <p:nvPr/>
        </p:nvSpPr>
        <p:spPr bwMode="auto">
          <a:xfrm>
            <a:off x="4232920" y="4237960"/>
            <a:ext cx="1152128" cy="590551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4133123" y="4138164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1" name="Rectangle 77" descr="넓은 상향 대각선"/>
          <p:cNvSpPr>
            <a:spLocks noChangeArrowheads="1"/>
          </p:cNvSpPr>
          <p:nvPr/>
        </p:nvSpPr>
        <p:spPr bwMode="auto">
          <a:xfrm>
            <a:off x="6609184" y="5589241"/>
            <a:ext cx="504056" cy="314650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6509387" y="5489444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18557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282" y="842311"/>
            <a:ext cx="3471552" cy="31479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8. </a:t>
            </a:r>
            <a:r>
              <a:rPr lang="ko-KR" altLang="en-US" dirty="0"/>
              <a:t>수정논문 제출 </a:t>
            </a:r>
            <a:r>
              <a:rPr lang="en-US" altLang="ko-KR" dirty="0"/>
              <a:t>2 </a:t>
            </a:r>
            <a:r>
              <a:rPr lang="ko-KR" altLang="en-US" dirty="0"/>
              <a:t>단계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/>
              <a:t>수정논문 제출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err="1"/>
              <a:t>대시보드</a:t>
            </a:r>
            <a:endParaRPr lang="ko-KR" altLang="en-US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ko-KR" altLang="en-US" dirty="0"/>
              <a:t>수정논문 제출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0468922"/>
              </p:ext>
            </p:extLst>
          </p:nvPr>
        </p:nvGraphicFramePr>
        <p:xfrm>
          <a:off x="7874715" y="980727"/>
          <a:ext cx="1842305" cy="1590095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심사정보 확인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정요청사항 답변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자 심사답변서 </a:t>
                      </a:r>
                      <a:b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</a:b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파일 업로드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심사답변내용 작성</a:t>
                      </a:r>
                      <a: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술형</a:t>
                      </a:r>
                      <a: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정논문제출 클릭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6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정논문제출 확인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3277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0742" y="2565070"/>
            <a:ext cx="4135112" cy="28932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77" descr="넓은 상향 대각선"/>
          <p:cNvSpPr>
            <a:spLocks noChangeArrowheads="1"/>
          </p:cNvSpPr>
          <p:nvPr/>
        </p:nvSpPr>
        <p:spPr bwMode="auto">
          <a:xfrm>
            <a:off x="2110742" y="2565070"/>
            <a:ext cx="4135112" cy="2893298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2010945" y="2421054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2079166" y="4628917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2079166" y="4941334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4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3406886" y="3542238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pic>
        <p:nvPicPr>
          <p:cNvPr id="32775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8298" y="4237961"/>
            <a:ext cx="3486150" cy="590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6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7462" y="4941334"/>
            <a:ext cx="2514850" cy="9625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77" descr="넓은 상향 대각선"/>
          <p:cNvSpPr>
            <a:spLocks noChangeArrowheads="1"/>
          </p:cNvSpPr>
          <p:nvPr/>
        </p:nvSpPr>
        <p:spPr bwMode="auto">
          <a:xfrm>
            <a:off x="4232920" y="4237960"/>
            <a:ext cx="1152128" cy="590551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4133123" y="4138164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1" name="Rectangle 77" descr="넓은 상향 대각선"/>
          <p:cNvSpPr>
            <a:spLocks noChangeArrowheads="1"/>
          </p:cNvSpPr>
          <p:nvPr/>
        </p:nvSpPr>
        <p:spPr bwMode="auto">
          <a:xfrm>
            <a:off x="6609184" y="5589241"/>
            <a:ext cx="504056" cy="314650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6509387" y="5489444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8762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55E6DEA5-1EAC-4110-AE2D-A1E628E3A2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93" y="1022410"/>
            <a:ext cx="4778386" cy="3777753"/>
          </a:xfrm>
          <a:prstGeom prst="rect">
            <a:avLst/>
          </a:prstGeom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8. </a:t>
            </a:r>
            <a:r>
              <a:rPr lang="ko-KR" altLang="en-US" dirty="0"/>
              <a:t>최종논문 제출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/>
              <a:t>최종논문 제출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err="1"/>
              <a:t>대시보드</a:t>
            </a:r>
            <a:endParaRPr lang="ko-KR" altLang="en-US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ko-KR" altLang="en-US" dirty="0"/>
              <a:t>최종논문 제출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0424986"/>
              </p:ext>
            </p:extLst>
          </p:nvPr>
        </p:nvGraphicFramePr>
        <p:xfrm>
          <a:off x="7874715" y="980727"/>
          <a:ext cx="1842305" cy="595075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최종논문 제출대기 확인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클릭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편집위원장 최종결재 이후</a:t>
                      </a:r>
                      <a:r>
                        <a:rPr lang="en-US" altLang="ko-KR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최종논문제출 클릭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2" name="Rectangle 77" descr="넓은 상향 대각선"/>
          <p:cNvSpPr>
            <a:spLocks noChangeArrowheads="1"/>
          </p:cNvSpPr>
          <p:nvPr/>
        </p:nvSpPr>
        <p:spPr bwMode="auto">
          <a:xfrm>
            <a:off x="757409" y="4221088"/>
            <a:ext cx="3475511" cy="432048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613963" y="4121109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pic>
        <p:nvPicPr>
          <p:cNvPr id="337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9316" y="4246770"/>
            <a:ext cx="5032434" cy="1990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77" descr="넓은 상향 대각선"/>
          <p:cNvSpPr>
            <a:spLocks noChangeArrowheads="1"/>
          </p:cNvSpPr>
          <p:nvPr/>
        </p:nvSpPr>
        <p:spPr bwMode="auto">
          <a:xfrm>
            <a:off x="6947221" y="5760894"/>
            <a:ext cx="648173" cy="332402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6847424" y="5684980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64597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4270967C-E5C8-4013-AFEC-6354174503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739" y="1032138"/>
            <a:ext cx="6064486" cy="5406996"/>
          </a:xfrm>
          <a:prstGeom prst="rect">
            <a:avLst/>
          </a:prstGeom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1. </a:t>
            </a:r>
            <a:r>
              <a:rPr lang="ko-KR" altLang="en-US" dirty="0"/>
              <a:t>메인 화면</a:t>
            </a:r>
            <a:r>
              <a:rPr lang="en-US" altLang="ko-KR" dirty="0"/>
              <a:t>  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메인</a:t>
            </a: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ko-KR" altLang="en-US" dirty="0"/>
              <a:t>메인 화면 기능 파악 및 로그인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274974"/>
              </p:ext>
            </p:extLst>
          </p:nvPr>
        </p:nvGraphicFramePr>
        <p:xfrm>
          <a:off x="7874715" y="980727"/>
          <a:ext cx="1842305" cy="3203260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홈 버튼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클릭 시 메인 화면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  <a:endParaRPr lang="en-US" altLang="ko-KR" sz="900" kern="1200" spc="-15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회 로고 이미지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5686348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D</a:t>
                      </a:r>
                      <a:r>
                        <a:rPr lang="en-US" altLang="ko-KR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/ PW </a:t>
                      </a:r>
                      <a:r>
                        <a:rPr lang="ko-KR" altLang="en-US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입력 후 로그인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15859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</a:t>
                      </a:r>
                      <a:endParaRPr lang="en-US" altLang="ko-KR" sz="900" kern="1200" spc="-15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비회원 외부계정 연동</a:t>
                      </a:r>
                      <a:b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</a:b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RCID / NAVER</a:t>
                      </a:r>
                      <a:r>
                        <a:rPr lang="en-US" altLang="ko-KR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/ Google+</a:t>
                      </a: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lang="en-US" altLang="ko-KR" sz="900" kern="1200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facebook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1390389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</a:t>
                      </a:r>
                      <a:endParaRPr lang="en-US" altLang="ko-KR" sz="900" kern="1200" spc="-15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링크 배너</a:t>
                      </a:r>
                      <a:endParaRPr lang="en-US" altLang="ko-KR" sz="90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71450" indent="-17145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Char char="-"/>
                        <a:defRPr/>
                      </a:pPr>
                      <a:r>
                        <a:rPr lang="ko-KR" altLang="en-US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회 홈페이지</a:t>
                      </a:r>
                      <a:endParaRPr lang="en-US" altLang="ko-KR" sz="90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71450" indent="-17145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Char char="-"/>
                        <a:defRPr/>
                      </a:pPr>
                      <a:r>
                        <a:rPr lang="en-US" altLang="ko-KR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CI </a:t>
                      </a:r>
                      <a:r>
                        <a:rPr lang="ko-KR" altLang="en-US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사도 검사페이지</a:t>
                      </a:r>
                      <a:endParaRPr lang="en-US" altLang="ko-KR" sz="90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71450" indent="-17145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Char char="-"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자 매뉴얼 다운로드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71450" indent="-17145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Char char="-"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심사위원 매뉴얼 다운로드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0437101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6</a:t>
                      </a:r>
                      <a:endParaRPr lang="en-US" altLang="ko-KR" sz="900" kern="1200" spc="-15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언어 선택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문 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영문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474917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7</a:t>
                      </a:r>
                      <a:endParaRPr lang="en-US" altLang="ko-KR" sz="900" kern="1200" spc="-15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술지 표지 이미지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클릭 시 학술지 소개 페이지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0504287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8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양식 다운로드 링크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71450" indent="-17145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Char char="-"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연구윤리규정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71450" indent="-17145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Char char="-"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논문투고규정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71450" indent="-17145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Char char="-"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논문심사규정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0" name="직사각형 9"/>
          <p:cNvSpPr/>
          <p:nvPr/>
        </p:nvSpPr>
        <p:spPr>
          <a:xfrm>
            <a:off x="761760" y="2726720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5144659" y="1697453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7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" name="Rectangle 77" descr="넓은 상향 대각선"/>
          <p:cNvSpPr>
            <a:spLocks noChangeArrowheads="1"/>
          </p:cNvSpPr>
          <p:nvPr/>
        </p:nvSpPr>
        <p:spPr bwMode="auto">
          <a:xfrm>
            <a:off x="861557" y="2826517"/>
            <a:ext cx="3947427" cy="862126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" name="Rectangle 77" descr="넓은 상향 대각선"/>
          <p:cNvSpPr>
            <a:spLocks noChangeArrowheads="1"/>
          </p:cNvSpPr>
          <p:nvPr/>
        </p:nvSpPr>
        <p:spPr bwMode="auto">
          <a:xfrm>
            <a:off x="921544" y="4923181"/>
            <a:ext cx="1835943" cy="738068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" name="Rectangle 77" descr="넓은 상향 대각선"/>
          <p:cNvSpPr>
            <a:spLocks noChangeArrowheads="1"/>
          </p:cNvSpPr>
          <p:nvPr/>
        </p:nvSpPr>
        <p:spPr bwMode="auto">
          <a:xfrm>
            <a:off x="5244456" y="1797250"/>
            <a:ext cx="1512168" cy="2044460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" name="Rectangle 77" descr="넓은 상향 대각선"/>
          <p:cNvSpPr>
            <a:spLocks noChangeArrowheads="1"/>
          </p:cNvSpPr>
          <p:nvPr/>
        </p:nvSpPr>
        <p:spPr bwMode="auto">
          <a:xfrm>
            <a:off x="861557" y="4024365"/>
            <a:ext cx="3947427" cy="402188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2" name="Rectangle 77" descr="넓은 상향 대각선"/>
          <p:cNvSpPr>
            <a:spLocks noChangeArrowheads="1"/>
          </p:cNvSpPr>
          <p:nvPr/>
        </p:nvSpPr>
        <p:spPr bwMode="auto">
          <a:xfrm>
            <a:off x="5244456" y="3800690"/>
            <a:ext cx="1512168" cy="1049132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" name="Rectangle 77" descr="넓은 상향 대각선"/>
          <p:cNvSpPr>
            <a:spLocks noChangeArrowheads="1"/>
          </p:cNvSpPr>
          <p:nvPr/>
        </p:nvSpPr>
        <p:spPr bwMode="auto">
          <a:xfrm>
            <a:off x="910844" y="1339867"/>
            <a:ext cx="1249725" cy="489427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838836" y="1240070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761760" y="3941507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4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777933" y="4893643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5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6418727" y="902280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5144659" y="3741913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8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9" name="Rectangle 77" descr="넓은 상향 대각선"/>
          <p:cNvSpPr>
            <a:spLocks noChangeArrowheads="1"/>
          </p:cNvSpPr>
          <p:nvPr/>
        </p:nvSpPr>
        <p:spPr bwMode="auto">
          <a:xfrm>
            <a:off x="6497789" y="1023054"/>
            <a:ext cx="641306" cy="334285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838836" y="913494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1" name="Rectangle 77" descr="넓은 상향 대각선"/>
          <p:cNvSpPr>
            <a:spLocks noChangeArrowheads="1"/>
          </p:cNvSpPr>
          <p:nvPr/>
        </p:nvSpPr>
        <p:spPr bwMode="auto">
          <a:xfrm>
            <a:off x="904738" y="1036859"/>
            <a:ext cx="398201" cy="251153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3" name="Rectangle 77" descr="넓은 상향 대각선"/>
          <p:cNvSpPr>
            <a:spLocks noChangeArrowheads="1"/>
          </p:cNvSpPr>
          <p:nvPr/>
        </p:nvSpPr>
        <p:spPr bwMode="auto">
          <a:xfrm>
            <a:off x="2757487" y="4923181"/>
            <a:ext cx="1835943" cy="738068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4" name="Rectangle 77" descr="넓은 상향 대각선"/>
          <p:cNvSpPr>
            <a:spLocks noChangeArrowheads="1"/>
          </p:cNvSpPr>
          <p:nvPr/>
        </p:nvSpPr>
        <p:spPr bwMode="auto">
          <a:xfrm>
            <a:off x="4593430" y="4923181"/>
            <a:ext cx="1835943" cy="738068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5" name="Rectangle 77" descr="넓은 상향 대각선"/>
          <p:cNvSpPr>
            <a:spLocks noChangeArrowheads="1"/>
          </p:cNvSpPr>
          <p:nvPr/>
        </p:nvSpPr>
        <p:spPr bwMode="auto">
          <a:xfrm>
            <a:off x="921544" y="5667089"/>
            <a:ext cx="1835943" cy="738068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15491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731" y="1628800"/>
            <a:ext cx="5967288" cy="2448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8. </a:t>
            </a:r>
            <a:r>
              <a:rPr lang="ko-KR" altLang="en-US" dirty="0"/>
              <a:t>최종논문 제출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/>
              <a:t>최종논문 제출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err="1"/>
              <a:t>대시보드</a:t>
            </a:r>
            <a:endParaRPr lang="ko-KR" altLang="en-US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ko-KR" altLang="en-US" dirty="0"/>
              <a:t>최종논문 제출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7059316"/>
              </p:ext>
            </p:extLst>
          </p:nvPr>
        </p:nvGraphicFramePr>
        <p:xfrm>
          <a:off x="7874715" y="980727"/>
          <a:ext cx="1842305" cy="497510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최종논문제출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최종논문제출 확인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2" name="Rectangle 77" descr="넓은 상향 대각선"/>
          <p:cNvSpPr>
            <a:spLocks noChangeArrowheads="1"/>
          </p:cNvSpPr>
          <p:nvPr/>
        </p:nvSpPr>
        <p:spPr bwMode="auto">
          <a:xfrm>
            <a:off x="4736976" y="3717032"/>
            <a:ext cx="832010" cy="324605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4637179" y="3582177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pic>
        <p:nvPicPr>
          <p:cNvPr id="348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8761" y="4221088"/>
            <a:ext cx="3600450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77" descr="넓은 상향 대각선"/>
          <p:cNvSpPr>
            <a:spLocks noChangeArrowheads="1"/>
          </p:cNvSpPr>
          <p:nvPr/>
        </p:nvSpPr>
        <p:spPr bwMode="auto">
          <a:xfrm>
            <a:off x="6465168" y="5175855"/>
            <a:ext cx="832010" cy="324605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6365371" y="5041000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2776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1" y="1550219"/>
            <a:ext cx="5111728" cy="40111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8. </a:t>
            </a:r>
            <a:r>
              <a:rPr lang="ko-KR" altLang="en-US" dirty="0"/>
              <a:t>최종논문 제출 완료 이후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 err="1"/>
              <a:t>대시보드</a:t>
            </a:r>
            <a:endParaRPr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ko-KR" altLang="en-US" dirty="0"/>
              <a:t>최종논문 제출 완료 이후 현황 확인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3592179"/>
              </p:ext>
            </p:extLst>
          </p:nvPr>
        </p:nvGraphicFramePr>
        <p:xfrm>
          <a:off x="7874715" y="980727"/>
          <a:ext cx="1842305" cy="483480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대시보드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내 진행논문 없음 확인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최종접수 이후</a:t>
                      </a:r>
                      <a:r>
                        <a:rPr lang="en-US" altLang="ko-KR" sz="900" b="1" kern="1200" dirty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</a:tbl>
          </a:graphicData>
        </a:graphic>
      </p:graphicFrame>
      <p:sp>
        <p:nvSpPr>
          <p:cNvPr id="21" name="직사각형 20"/>
          <p:cNvSpPr/>
          <p:nvPr/>
        </p:nvSpPr>
        <p:spPr>
          <a:xfrm>
            <a:off x="1413680" y="3068960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8773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500" y="908720"/>
            <a:ext cx="6209750" cy="36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8. </a:t>
            </a:r>
            <a:r>
              <a:rPr lang="ko-KR" altLang="en-US" dirty="0"/>
              <a:t>최종논문 제출 완료 이후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 err="1"/>
              <a:t>대시보드</a:t>
            </a:r>
            <a:endParaRPr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ko-KR" altLang="en-US" dirty="0"/>
              <a:t>최종논문 제출 완료 이후 현황 확인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484970"/>
              </p:ext>
            </p:extLst>
          </p:nvPr>
        </p:nvGraphicFramePr>
        <p:xfrm>
          <a:off x="7874715" y="980727"/>
          <a:ext cx="1842305" cy="497510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상세검색에서 검색버튼 클릭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최종논문</a:t>
                      </a:r>
                      <a:r>
                        <a:rPr lang="ko-KR" altLang="en-US" sz="9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접수 확인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1" name="직사각형 20"/>
          <p:cNvSpPr/>
          <p:nvPr/>
        </p:nvSpPr>
        <p:spPr>
          <a:xfrm>
            <a:off x="3092925" y="3179761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" name="Rectangle 77" descr="넓은 상향 대각선"/>
          <p:cNvSpPr>
            <a:spLocks noChangeArrowheads="1"/>
          </p:cNvSpPr>
          <p:nvPr/>
        </p:nvSpPr>
        <p:spPr bwMode="auto">
          <a:xfrm>
            <a:off x="3243327" y="3248411"/>
            <a:ext cx="832010" cy="324605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pic>
        <p:nvPicPr>
          <p:cNvPr id="3686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015" y="4581128"/>
            <a:ext cx="6048720" cy="1742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직사각형 12"/>
          <p:cNvSpPr/>
          <p:nvPr/>
        </p:nvSpPr>
        <p:spPr>
          <a:xfrm>
            <a:off x="6037289" y="4440470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" name="Rectangle 77" descr="넓은 상향 대각선"/>
          <p:cNvSpPr>
            <a:spLocks noChangeArrowheads="1"/>
          </p:cNvSpPr>
          <p:nvPr/>
        </p:nvSpPr>
        <p:spPr bwMode="auto">
          <a:xfrm>
            <a:off x="6187691" y="4509120"/>
            <a:ext cx="832010" cy="324605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76912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idx="4294967295"/>
          </p:nvPr>
        </p:nvSpPr>
        <p:spPr>
          <a:xfrm>
            <a:off x="1208087" y="2780928"/>
            <a:ext cx="7489825" cy="1143000"/>
          </a:xfrm>
          <a:prstGeom prst="rect">
            <a:avLst/>
          </a:prstGeom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85000"/>
              </a:lnSpc>
              <a:defRPr/>
            </a:pPr>
            <a:r>
              <a:rPr lang="ko-KR" altLang="en-US" dirty="0">
                <a:solidFill>
                  <a:srgbClr val="595959"/>
                </a:solidFill>
              </a:rPr>
              <a:t>감사합니다</a:t>
            </a:r>
            <a:r>
              <a:rPr lang="en-US" altLang="ko-KR" dirty="0">
                <a:solidFill>
                  <a:srgbClr val="595959"/>
                </a:solidFill>
              </a:rPr>
              <a:t>.</a:t>
            </a:r>
            <a:endParaRPr sz="24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756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015" y="1003548"/>
            <a:ext cx="6652448" cy="55268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2. </a:t>
            </a:r>
            <a:r>
              <a:rPr lang="ko-KR" altLang="en-US" dirty="0"/>
              <a:t>로그인 화면</a:t>
            </a:r>
            <a:r>
              <a:rPr lang="en-US" altLang="ko-KR" dirty="0"/>
              <a:t>  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메인</a:t>
            </a: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ko-KR" altLang="en-US" dirty="0"/>
              <a:t>로그인 이후 투고자 권한 확인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0382906"/>
              </p:ext>
            </p:extLst>
          </p:nvPr>
        </p:nvGraphicFramePr>
        <p:xfrm>
          <a:off x="7874715" y="980727"/>
          <a:ext cx="1842305" cy="692640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로그인한 사용자의 성명 표시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</a:t>
                      </a: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로그인 </a:t>
                      </a: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안내글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표시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자 권한 확인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- </a:t>
                      </a:r>
                      <a:r>
                        <a:rPr lang="ko-KR" altLang="en-US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클릭 시 투고자 기능 이용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</a:tbl>
          </a:graphicData>
        </a:graphic>
      </p:graphicFrame>
      <p:sp>
        <p:nvSpPr>
          <p:cNvPr id="32" name="직사각형 31"/>
          <p:cNvSpPr/>
          <p:nvPr/>
        </p:nvSpPr>
        <p:spPr>
          <a:xfrm>
            <a:off x="6659622" y="773072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3" name="Rectangle 77" descr="넓은 상향 대각선"/>
          <p:cNvSpPr>
            <a:spLocks noChangeArrowheads="1"/>
          </p:cNvSpPr>
          <p:nvPr/>
        </p:nvSpPr>
        <p:spPr bwMode="auto">
          <a:xfrm>
            <a:off x="6705614" y="972666"/>
            <a:ext cx="438021" cy="251153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681782" y="1803261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5" name="Rectangle 77" descr="넓은 상향 대각선"/>
          <p:cNvSpPr>
            <a:spLocks noChangeArrowheads="1"/>
          </p:cNvSpPr>
          <p:nvPr/>
        </p:nvSpPr>
        <p:spPr bwMode="auto">
          <a:xfrm>
            <a:off x="776015" y="1889043"/>
            <a:ext cx="4176986" cy="2871352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23495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9179773B-9B13-401C-8D4E-306552C318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56" y="1628801"/>
            <a:ext cx="7511280" cy="4691479"/>
          </a:xfrm>
          <a:prstGeom prst="rect">
            <a:avLst/>
          </a:prstGeom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3. </a:t>
            </a:r>
            <a:r>
              <a:rPr lang="ko-KR" altLang="en-US" dirty="0"/>
              <a:t>학술지 </a:t>
            </a:r>
            <a:r>
              <a:rPr lang="en-US" altLang="ko-KR" dirty="0"/>
              <a:t>&lt;2018</a:t>
            </a:r>
            <a:r>
              <a:rPr lang="ko-KR" altLang="en-US" dirty="0"/>
              <a:t> 학술발표대회 </a:t>
            </a:r>
            <a:r>
              <a:rPr lang="ko-KR" altLang="en-US" dirty="0" err="1"/>
              <a:t>프로시딩</a:t>
            </a:r>
            <a:r>
              <a:rPr lang="en-US" altLang="ko-KR" dirty="0"/>
              <a:t>&gt; </a:t>
            </a:r>
            <a:r>
              <a:rPr lang="ko-KR" altLang="en-US" dirty="0"/>
              <a:t>선택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/>
              <a:t>간행물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ko-KR" altLang="en-US" dirty="0"/>
              <a:t>투고할 학술지 선택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1403766"/>
              </p:ext>
            </p:extLst>
          </p:nvPr>
        </p:nvGraphicFramePr>
        <p:xfrm>
          <a:off x="7874715" y="980727"/>
          <a:ext cx="1842305" cy="248755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한국게임학회 </a:t>
                      </a: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논문지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클릭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</a:tbl>
          </a:graphicData>
        </a:graphic>
      </p:graphicFrame>
      <p:sp>
        <p:nvSpPr>
          <p:cNvPr id="32" name="직사각형 31"/>
          <p:cNvSpPr/>
          <p:nvPr/>
        </p:nvSpPr>
        <p:spPr>
          <a:xfrm>
            <a:off x="272480" y="3645024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3" name="Rectangle 77" descr="넓은 상향 대각선"/>
          <p:cNvSpPr>
            <a:spLocks noChangeArrowheads="1"/>
          </p:cNvSpPr>
          <p:nvPr/>
        </p:nvSpPr>
        <p:spPr bwMode="auto">
          <a:xfrm>
            <a:off x="344488" y="3794274"/>
            <a:ext cx="1515850" cy="2309490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60422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CE655987-2C11-436C-9E35-4A046E9051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560" y="1268760"/>
            <a:ext cx="6048672" cy="4725899"/>
          </a:xfrm>
          <a:prstGeom prst="rect">
            <a:avLst/>
          </a:prstGeom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4. </a:t>
            </a:r>
            <a:r>
              <a:rPr lang="ko-KR" altLang="en-US" dirty="0" err="1"/>
              <a:t>대시보드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 err="1"/>
              <a:t>대시보드</a:t>
            </a:r>
            <a:endParaRPr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간행물</a:t>
            </a: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ko-KR" altLang="en-US" dirty="0" err="1"/>
              <a:t>대시보드를</a:t>
            </a:r>
            <a:r>
              <a:rPr lang="ko-KR" altLang="en-US" dirty="0"/>
              <a:t> 통해 내 논문 진행현황 확인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3694596"/>
              </p:ext>
            </p:extLst>
          </p:nvPr>
        </p:nvGraphicFramePr>
        <p:xfrm>
          <a:off x="7874715" y="980727"/>
          <a:ext cx="1842305" cy="2171140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대시보드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규 논문 투고 시작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완료 전 논문 현황 확인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접수 종합 현황 확인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접수대기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접수완료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접수거부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논문 심사 현황 확인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심사중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총평중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6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심사 결과에 따라 수정논문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제출 대기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정후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재심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ko-KR" altLang="en-US" sz="9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정후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게재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7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최종논문 제출대기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2" name="직사각형 31"/>
          <p:cNvSpPr/>
          <p:nvPr/>
        </p:nvSpPr>
        <p:spPr>
          <a:xfrm>
            <a:off x="894882" y="2897155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3" name="Rectangle 77" descr="넓은 상향 대각선"/>
          <p:cNvSpPr>
            <a:spLocks noChangeArrowheads="1"/>
          </p:cNvSpPr>
          <p:nvPr/>
        </p:nvSpPr>
        <p:spPr bwMode="auto">
          <a:xfrm>
            <a:off x="991518" y="2996952"/>
            <a:ext cx="4393530" cy="2808312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894882" y="3131732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894882" y="3554004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894882" y="4005064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4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894882" y="4437112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5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894882" y="4869160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894882" y="5301208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7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75044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C1E7AC11-E207-4663-8360-C9862648E6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311" y="1348285"/>
            <a:ext cx="5944135" cy="3743847"/>
          </a:xfrm>
          <a:prstGeom prst="rect">
            <a:avLst/>
          </a:prstGeom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5. </a:t>
            </a:r>
            <a:r>
              <a:rPr lang="ko-KR" altLang="en-US" dirty="0"/>
              <a:t>신규 논문 투고 전체 </a:t>
            </a:r>
            <a:r>
              <a:rPr lang="en-US" altLang="ko-KR" dirty="0"/>
              <a:t>4</a:t>
            </a:r>
            <a:r>
              <a:rPr lang="ko-KR" altLang="en-US" dirty="0"/>
              <a:t>단계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/>
              <a:t>투고하기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err="1"/>
              <a:t>대시보드</a:t>
            </a:r>
            <a:endParaRPr lang="ko-KR" altLang="en-US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ko-KR" altLang="en-US" dirty="0"/>
              <a:t>단계 별 신규 논문 투고하기 절차 진행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4657903"/>
              </p:ext>
            </p:extLst>
          </p:nvPr>
        </p:nvGraphicFramePr>
        <p:xfrm>
          <a:off x="7874715" y="980727"/>
          <a:ext cx="1842305" cy="248755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규 논문 투고 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단계 확인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</a:tbl>
          </a:graphicData>
        </a:graphic>
      </p:graphicFrame>
      <p:sp>
        <p:nvSpPr>
          <p:cNvPr id="32" name="직사각형 31"/>
          <p:cNvSpPr/>
          <p:nvPr/>
        </p:nvSpPr>
        <p:spPr>
          <a:xfrm>
            <a:off x="1141316" y="2897155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2" name="Rectangle 77" descr="넓은 상향 대각선"/>
          <p:cNvSpPr>
            <a:spLocks noChangeArrowheads="1"/>
          </p:cNvSpPr>
          <p:nvPr/>
        </p:nvSpPr>
        <p:spPr bwMode="auto">
          <a:xfrm>
            <a:off x="1241113" y="2996952"/>
            <a:ext cx="5656103" cy="2134055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04396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120" y="1098556"/>
            <a:ext cx="6426510" cy="53305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5. </a:t>
            </a:r>
            <a:r>
              <a:rPr lang="ko-KR" altLang="en-US" dirty="0"/>
              <a:t>신규 논문 투고 </a:t>
            </a:r>
            <a:r>
              <a:rPr lang="en-US" altLang="ko-KR" dirty="0"/>
              <a:t>– STEP 1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STEP 1. </a:t>
            </a:r>
            <a:r>
              <a:rPr lang="ko-KR" altLang="en-US" dirty="0"/>
              <a:t>동의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투고하기</a:t>
            </a: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STEP 1. </a:t>
            </a:r>
            <a:r>
              <a:rPr lang="ko-KR" altLang="en-US" dirty="0"/>
              <a:t>동의 </a:t>
            </a:r>
            <a:r>
              <a:rPr lang="en-US" altLang="ko-KR" dirty="0"/>
              <a:t>(</a:t>
            </a:r>
            <a:r>
              <a:rPr lang="ko-KR" altLang="en-US" dirty="0"/>
              <a:t>연구윤리서약 </a:t>
            </a:r>
            <a:r>
              <a:rPr lang="en-US" altLang="ko-KR" dirty="0"/>
              <a:t>/ </a:t>
            </a:r>
            <a:r>
              <a:rPr lang="ko-KR" altLang="en-US" dirty="0"/>
              <a:t>저작권 이양 동의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3491287"/>
              </p:ext>
            </p:extLst>
          </p:nvPr>
        </p:nvGraphicFramePr>
        <p:xfrm>
          <a:off x="7874715" y="980727"/>
          <a:ext cx="1842305" cy="980990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연구윤리서약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저작권 이양 동의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명하기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투고자 및 공동저자 포함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체 성명 입력</a:t>
                      </a: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2" name="Rectangle 77" descr="넓은 상향 대각선"/>
          <p:cNvSpPr>
            <a:spLocks noChangeArrowheads="1"/>
          </p:cNvSpPr>
          <p:nvPr/>
        </p:nvSpPr>
        <p:spPr bwMode="auto">
          <a:xfrm>
            <a:off x="770760" y="3212976"/>
            <a:ext cx="6342480" cy="386720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670963" y="3113179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2296398" y="5784594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" name="Rectangle 77" descr="넓은 상향 대각선"/>
          <p:cNvSpPr>
            <a:spLocks noChangeArrowheads="1"/>
          </p:cNvSpPr>
          <p:nvPr/>
        </p:nvSpPr>
        <p:spPr bwMode="auto">
          <a:xfrm>
            <a:off x="770760" y="5445224"/>
            <a:ext cx="6342480" cy="312369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0963" y="5345427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" name="Rectangle 77" descr="넓은 상향 대각선"/>
          <p:cNvSpPr>
            <a:spLocks noChangeArrowheads="1"/>
          </p:cNvSpPr>
          <p:nvPr/>
        </p:nvSpPr>
        <p:spPr bwMode="auto">
          <a:xfrm>
            <a:off x="2396195" y="5884391"/>
            <a:ext cx="3240360" cy="604600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69867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40F95B72-CC9B-4D67-85C1-307C8BB6CC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504" y="1709497"/>
            <a:ext cx="6624735" cy="3439005"/>
          </a:xfrm>
          <a:prstGeom prst="rect">
            <a:avLst/>
          </a:prstGeom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5. </a:t>
            </a:r>
            <a:r>
              <a:rPr lang="ko-KR" altLang="en-US" dirty="0"/>
              <a:t>신규 논문 투고 </a:t>
            </a:r>
            <a:r>
              <a:rPr lang="en-US" altLang="ko-KR" dirty="0"/>
              <a:t>– STEP 1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STEP 1. </a:t>
            </a:r>
            <a:r>
              <a:rPr lang="ko-KR" altLang="en-US" dirty="0"/>
              <a:t>동의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투고하기</a:t>
            </a: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STEP 1 (</a:t>
            </a:r>
            <a:r>
              <a:rPr lang="ko-KR" altLang="en-US" dirty="0"/>
              <a:t>저자 체크 리스트</a:t>
            </a:r>
            <a:r>
              <a:rPr lang="en-US" altLang="ko-KR" dirty="0"/>
              <a:t>) </a:t>
            </a:r>
            <a:r>
              <a:rPr lang="ko-KR" altLang="en-US" dirty="0"/>
              <a:t>체크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5619830"/>
              </p:ext>
            </p:extLst>
          </p:nvPr>
        </p:nvGraphicFramePr>
        <p:xfrm>
          <a:off x="7874715" y="980727"/>
          <a:ext cx="1842305" cy="746265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저자 체크 리스트 체크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다음단계 이동 클릭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내용 저장 후 다음 단계 이동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2" name="Rectangle 77" descr="넓은 상향 대각선"/>
          <p:cNvSpPr>
            <a:spLocks noChangeArrowheads="1"/>
          </p:cNvSpPr>
          <p:nvPr/>
        </p:nvSpPr>
        <p:spPr bwMode="auto">
          <a:xfrm>
            <a:off x="6468549" y="1932754"/>
            <a:ext cx="644690" cy="1928294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6368752" y="1789246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pic>
        <p:nvPicPr>
          <p:cNvPr id="4096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3736" y="5158654"/>
            <a:ext cx="2736304" cy="13221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직사각형 13"/>
          <p:cNvSpPr/>
          <p:nvPr/>
        </p:nvSpPr>
        <p:spPr>
          <a:xfrm>
            <a:off x="3025214" y="4525550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6468549" y="5979216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57519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4187575F-D7E5-47F7-B53B-EB0C9C33AF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352" y="1480606"/>
            <a:ext cx="6411220" cy="4734586"/>
          </a:xfrm>
          <a:prstGeom prst="rect">
            <a:avLst/>
          </a:prstGeom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5. </a:t>
            </a:r>
            <a:r>
              <a:rPr lang="ko-KR" altLang="en-US" dirty="0"/>
              <a:t>신규 논문 투고 </a:t>
            </a:r>
            <a:r>
              <a:rPr lang="en-US" altLang="ko-KR" dirty="0"/>
              <a:t>– STEP 2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STEP 2. </a:t>
            </a:r>
            <a:r>
              <a:rPr lang="ko-KR" altLang="en-US" dirty="0"/>
              <a:t>투고정보 입력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투고하기</a:t>
            </a: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투고자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STEP 2. </a:t>
            </a:r>
            <a:r>
              <a:rPr lang="ko-KR" altLang="en-US" dirty="0"/>
              <a:t>투고정보 입력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3068467"/>
              </p:ext>
            </p:extLst>
          </p:nvPr>
        </p:nvGraphicFramePr>
        <p:xfrm>
          <a:off x="7874715" y="980727"/>
          <a:ext cx="1842305" cy="497510"/>
        </p:xfrm>
        <a:graphic>
          <a:graphicData uri="http://schemas.openxmlformats.org/drawingml/2006/table">
            <a:tbl>
              <a:tblPr/>
              <a:tblGrid>
                <a:gridCol w="246637">
                  <a:extLst>
                    <a:ext uri="{9D8B030D-6E8A-4147-A177-3AD203B41FA5}">
                      <a16:colId xmlns:a16="http://schemas.microsoft.com/office/drawing/2014/main" val="3906341448"/>
                    </a:ext>
                  </a:extLst>
                </a:gridCol>
                <a:gridCol w="1595668">
                  <a:extLst>
                    <a:ext uri="{9D8B030D-6E8A-4147-A177-3AD203B41FA5}">
                      <a16:colId xmlns:a16="http://schemas.microsoft.com/office/drawing/2014/main" val="3628990629"/>
                    </a:ext>
                  </a:extLst>
                </a:gridCol>
              </a:tblGrid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EP</a:t>
                      </a:r>
                      <a:r>
                        <a:rPr lang="en-US" altLang="ko-KR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1 </a:t>
                      </a:r>
                      <a:r>
                        <a:rPr lang="ko-KR" altLang="en-US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동의완료 확인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8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spc="-15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latinLnBrk="1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술지명 확인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72745"/>
                  </a:ext>
                </a:extLst>
              </a:tr>
            </a:tbl>
          </a:graphicData>
        </a:graphic>
      </p:graphicFrame>
      <p:sp>
        <p:nvSpPr>
          <p:cNvPr id="22" name="Rectangle 77" descr="넓은 상향 대각선"/>
          <p:cNvSpPr>
            <a:spLocks noChangeArrowheads="1"/>
          </p:cNvSpPr>
          <p:nvPr/>
        </p:nvSpPr>
        <p:spPr bwMode="auto">
          <a:xfrm>
            <a:off x="756352" y="5821694"/>
            <a:ext cx="6500903" cy="393497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632520" y="5749686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" name="Rectangle 77" descr="넓은 상향 대각선"/>
          <p:cNvSpPr>
            <a:spLocks noChangeArrowheads="1"/>
          </p:cNvSpPr>
          <p:nvPr/>
        </p:nvSpPr>
        <p:spPr bwMode="auto">
          <a:xfrm>
            <a:off x="992559" y="3789040"/>
            <a:ext cx="1512169" cy="915818"/>
          </a:xfrm>
          <a:prstGeom prst="rect">
            <a:avLst/>
          </a:prstGeom>
          <a:solidFill>
            <a:srgbClr val="FB5D05">
              <a:alpha val="10000"/>
            </a:srgbClr>
          </a:solidFill>
          <a:ln w="9525">
            <a:solidFill>
              <a:srgbClr val="FB5D05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892762" y="3689243"/>
            <a:ext cx="199594" cy="199594"/>
          </a:xfrm>
          <a:prstGeom prst="rect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01399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bg1">
              <a:lumMod val="65000"/>
            </a:schemeClr>
          </a:solidFill>
        </a:ln>
      </a:spPr>
      <a:bodyPr lIns="36000" rIns="36000" rtlCol="0" anchor="ctr"/>
      <a:lstStyle>
        <a:defPPr>
          <a:defRPr sz="900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  <a:lumOff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 anchor="ctr">
        <a:spAutoFit/>
      </a:bodyPr>
      <a:lstStyle>
        <a:defPPr>
          <a:defRPr kumimoji="1" sz="1000" dirty="0" smtClean="0">
            <a:solidFill>
              <a:schemeClr val="tx1"/>
            </a:solidFill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643</TotalTime>
  <Words>895</Words>
  <Application>Microsoft Office PowerPoint</Application>
  <PresentationFormat>A4 용지(210x297mm)</PresentationFormat>
  <Paragraphs>378</Paragraphs>
  <Slides>23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3</vt:i4>
      </vt:variant>
    </vt:vector>
  </HeadingPairs>
  <TitlesOfParts>
    <vt:vector size="31" baseType="lpstr">
      <vt:lpstr>Noto Sans CJK JP Regular</vt:lpstr>
      <vt:lpstr>맑은 고딕</vt:lpstr>
      <vt:lpstr>아리따-돋움(OTF)-Medium</vt:lpstr>
      <vt:lpstr>아리따-돋움(TTF)-Light</vt:lpstr>
      <vt:lpstr>Arial</vt:lpstr>
      <vt:lpstr>Segoe UI</vt:lpstr>
      <vt:lpstr>Office 테마</vt:lpstr>
      <vt:lpstr>think-cell Slide</vt:lpstr>
      <vt:lpstr>온라인 논문투고심사 시스템_DBpia ONE</vt:lpstr>
      <vt:lpstr>1. 메인 화면  </vt:lpstr>
      <vt:lpstr>2. 로그인 화면  </vt:lpstr>
      <vt:lpstr>3. 학술지 &lt;2018 학술발표대회 프로시딩&gt; 선택</vt:lpstr>
      <vt:lpstr>4. 대시보드</vt:lpstr>
      <vt:lpstr>5. 신규 논문 투고 전체 4단계</vt:lpstr>
      <vt:lpstr>5. 신규 논문 투고 – STEP 1</vt:lpstr>
      <vt:lpstr>5. 신규 논문 투고 – STEP 1</vt:lpstr>
      <vt:lpstr>5. 신규 논문 투고 – STEP 2</vt:lpstr>
      <vt:lpstr>5. 신규 논문 투고 – STEP 2</vt:lpstr>
      <vt:lpstr>5. 신규 논문 투고 – STEP 2</vt:lpstr>
      <vt:lpstr>5. 신규 논문 투고 – STEP 3</vt:lpstr>
      <vt:lpstr>5. 신규 논문 투고 – STEP 3</vt:lpstr>
      <vt:lpstr>5. 신규 논문 투고 – STEP 3</vt:lpstr>
      <vt:lpstr>6. 논문 투고 현황 확인(대시보드 – 종합현황)</vt:lpstr>
      <vt:lpstr>7. 투고 논문 심사 현황 확인(대시보드 – 논문심사현황→수정논문 제출대기)</vt:lpstr>
      <vt:lpstr>8. 수정논문 제출</vt:lpstr>
      <vt:lpstr>8. 수정논문 제출 2 단계</vt:lpstr>
      <vt:lpstr>8. 최종논문 제출</vt:lpstr>
      <vt:lpstr>8. 최종논문 제출</vt:lpstr>
      <vt:lpstr>8. 최종논문 제출 완료 이후</vt:lpstr>
      <vt:lpstr>8. 최종논문 제출 완료 이후</vt:lpstr>
      <vt:lpstr>감사합니다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산출물 명 표기</dc:title>
  <dc:subject>New EP Project</dc:subject>
  <dc:creator>Hye Young Kim/IBM</dc:creator>
  <cp:lastModifiedBy>6marine82@gmail.com</cp:lastModifiedBy>
  <cp:revision>1776</cp:revision>
  <dcterms:created xsi:type="dcterms:W3CDTF">2012-05-24T05:17:16Z</dcterms:created>
  <dcterms:modified xsi:type="dcterms:W3CDTF">2018-10-02T02:54:26Z</dcterms:modified>
</cp:coreProperties>
</file>